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slideLayouts/slideLayout33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64" r:id="rId4"/>
    <p:sldMasterId id="2147483800" r:id="rId5"/>
    <p:sldMasterId id="2147483786" r:id="rId6"/>
    <p:sldMasterId id="2147483771" r:id="rId7"/>
    <p:sldMasterId id="2147483779" r:id="rId8"/>
    <p:sldMasterId id="2147483806" r:id="rId9"/>
    <p:sldMasterId id="2147483748" r:id="rId10"/>
    <p:sldMasterId id="2147483759" r:id="rId11"/>
  </p:sldMasterIdLst>
  <p:notesMasterIdLst>
    <p:notesMasterId r:id="rId28"/>
  </p:notesMasterIdLst>
  <p:handoutMasterIdLst>
    <p:handoutMasterId r:id="rId29"/>
  </p:handoutMasterIdLst>
  <p:sldIdLst>
    <p:sldId id="2147471011" r:id="rId12"/>
    <p:sldId id="2147471012" r:id="rId13"/>
    <p:sldId id="2147471013" r:id="rId14"/>
    <p:sldId id="2147471014" r:id="rId15"/>
    <p:sldId id="2147471015" r:id="rId16"/>
    <p:sldId id="2147471016" r:id="rId17"/>
    <p:sldId id="2147471017" r:id="rId18"/>
    <p:sldId id="2147471018" r:id="rId19"/>
    <p:sldId id="2147471019" r:id="rId20"/>
    <p:sldId id="2147471020" r:id="rId21"/>
    <p:sldId id="2147471021" r:id="rId22"/>
    <p:sldId id="2147471022" r:id="rId23"/>
    <p:sldId id="2147471023" r:id="rId24"/>
    <p:sldId id="2147471024" r:id="rId25"/>
    <p:sldId id="2147471025" r:id="rId26"/>
    <p:sldId id="2147471026" r:id="rId27"/>
  </p:sldIdLst>
  <p:sldSz cx="12192000" cy="6858000"/>
  <p:notesSz cx="6858000" cy="9144000"/>
  <p:embeddedFontLst>
    <p:embeddedFont>
      <p:font typeface="Calibri" panose="020F0502020204030204" pitchFamily="34" charset="0"/>
      <p:regular r:id="rId30"/>
      <p:bold r:id="rId31"/>
      <p:italic r:id="rId32"/>
      <p:boldItalic r:id="rId33"/>
    </p:embeddedFont>
    <p:embeddedFont>
      <p:font typeface="Calibri Light" panose="020F0302020204030204" pitchFamily="34" charset="0"/>
      <p:regular r:id="rId34"/>
      <p:italic r:id="rId35"/>
    </p:embeddedFont>
    <p:embeddedFont>
      <p:font typeface="Inter" panose="02000503000000020004" pitchFamily="2" charset="0"/>
      <p:regular r:id="rId36"/>
      <p:bold r:id="rId37"/>
    </p:embeddedFont>
    <p:embeddedFont>
      <p:font typeface="Inter Black" panose="02000503000000020004" pitchFamily="2" charset="0"/>
      <p:bold r:id="rId38"/>
    </p:embeddedFont>
    <p:embeddedFont>
      <p:font typeface="Inter Medium" panose="02000503000000020004" pitchFamily="2" charset="0"/>
      <p:regular r:id="rId39"/>
    </p:embeddedFont>
    <p:embeddedFont>
      <p:font typeface="Inter SemiBold" panose="02000503000000020004" pitchFamily="2" charset="0"/>
      <p:bold r:id="rId40"/>
    </p:embeddedFont>
    <p:embeddedFont>
      <p:font typeface="Manrope" pitchFamily="2" charset="0"/>
      <p:regular r:id="rId41"/>
      <p:bold r:id="rId42"/>
    </p:embeddedFont>
    <p:embeddedFont>
      <p:font typeface="Manrope ExtraBold" pitchFamily="2" charset="0"/>
      <p:bold r:id="rId43"/>
    </p:embeddedFont>
    <p:embeddedFont>
      <p:font typeface="Manrope SemiBold" pitchFamily="2" charset="0"/>
      <p:bold r:id="rId44"/>
    </p:embeddedFont>
    <p:embeddedFont>
      <p:font typeface="Montserrat" pitchFamily="2" charset="0"/>
      <p:regular r:id="rId45"/>
      <p:bold r:id="rId46"/>
      <p:italic r:id="rId47"/>
      <p:boldItalic r:id="rId48"/>
    </p:embeddedFont>
    <p:embeddedFont>
      <p:font typeface="Montserrat ExtraBold" pitchFamily="2" charset="0"/>
      <p:bold r:id="rId49"/>
      <p:boldItalic r:id="rId50"/>
    </p:embeddedFont>
    <p:embeddedFont>
      <p:font typeface="Montserrat SemiBold" pitchFamily="2" charset="0"/>
      <p:regular r:id="rId51"/>
      <p:bold r:id="rId52"/>
      <p:boldItalic r:id="rId53"/>
    </p:embeddedFont>
    <p:embeddedFont>
      <p:font typeface="Source Code Pro" panose="020B0309030403020204" pitchFamily="49" charset="0"/>
      <p:regular r:id="rId54"/>
      <p:bold r:id="rId55"/>
      <p:italic r:id="rId56"/>
      <p:boldItalic r:id="rId57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050E715-2D0A-49EB-B49A-1260F3ED9415}">
          <p14:sldIdLst>
            <p14:sldId id="2147471011"/>
            <p14:sldId id="2147471012"/>
            <p14:sldId id="2147471013"/>
            <p14:sldId id="2147471014"/>
            <p14:sldId id="2147471015"/>
            <p14:sldId id="2147471016"/>
            <p14:sldId id="2147471017"/>
            <p14:sldId id="2147471018"/>
            <p14:sldId id="2147471019"/>
            <p14:sldId id="2147471020"/>
            <p14:sldId id="2147471021"/>
            <p14:sldId id="2147471022"/>
            <p14:sldId id="2147471023"/>
            <p14:sldId id="2147471024"/>
            <p14:sldId id="2147471025"/>
            <p14:sldId id="214747102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lgova Svetlana" initials="DS" lastIdx="1" clrIdx="0">
    <p:extLst>
      <p:ext uri="{19B8F6BF-5375-455C-9EA6-DF929625EA0E}">
        <p15:presenceInfo xmlns:p15="http://schemas.microsoft.com/office/powerpoint/2012/main" userId="S-1-5-21-2437565300-2024630967-1388371115-5613" providerId="AD"/>
      </p:ext>
    </p:extLst>
  </p:cmAuthor>
  <p:cmAuthor id="2" name="Petrovicheva, A." initials="PA" lastIdx="30" clrIdx="1">
    <p:extLst>
      <p:ext uri="{19B8F6BF-5375-455C-9EA6-DF929625EA0E}">
        <p15:presenceInfo xmlns:p15="http://schemas.microsoft.com/office/powerpoint/2012/main" userId="S::a.petrovicheva@accenture.com::249739f8-9c90-4238-8709-9e236e7a9d25" providerId="AD"/>
      </p:ext>
    </p:extLst>
  </p:cmAuthor>
  <p:cmAuthor id="3" name=" " initials="" lastIdx="15" clrIdx="2">
    <p:extLst>
      <p:ext uri="{19B8F6BF-5375-455C-9EA6-DF929625EA0E}">
        <p15:presenceInfo xmlns:p15="http://schemas.microsoft.com/office/powerpoint/2012/main" userId=" 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FF"/>
    <a:srgbClr val="1A69DF"/>
    <a:srgbClr val="F84114"/>
    <a:srgbClr val="1E1E1E"/>
    <a:srgbClr val="00EE9F"/>
    <a:srgbClr val="000000"/>
    <a:srgbClr val="9000FF"/>
    <a:srgbClr val="35586F"/>
    <a:srgbClr val="20344C"/>
    <a:srgbClr val="002F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64" autoAdjust="0"/>
    <p:restoredTop sz="93883" autoAdjust="0"/>
  </p:normalViewPr>
  <p:slideViewPr>
    <p:cSldViewPr snapToGrid="0">
      <p:cViewPr>
        <p:scale>
          <a:sx n="100" d="100"/>
          <a:sy n="100" d="100"/>
        </p:scale>
        <p:origin x="486" y="4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font" Target="fonts/font10.fntdata"/><Relationship Id="rId21" Type="http://schemas.openxmlformats.org/officeDocument/2006/relationships/slide" Target="slides/slide10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font" Target="fonts/font21.fntdata"/><Relationship Id="rId55" Type="http://schemas.openxmlformats.org/officeDocument/2006/relationships/font" Target="fonts/font26.fntdata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handoutMaster" Target="handoutMasters/handoutMaster1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font" Target="fonts/font24.fntdata"/><Relationship Id="rId58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61" Type="http://schemas.openxmlformats.org/officeDocument/2006/relationships/theme" Target="theme/theme1.xml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56" Type="http://schemas.openxmlformats.org/officeDocument/2006/relationships/font" Target="fonts/font27.fntdata"/><Relationship Id="rId8" Type="http://schemas.openxmlformats.org/officeDocument/2006/relationships/slideMaster" Target="slideMasters/slideMaster5.xml"/><Relationship Id="rId51" Type="http://schemas.openxmlformats.org/officeDocument/2006/relationships/font" Target="fonts/font22.fntdata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59" Type="http://schemas.openxmlformats.org/officeDocument/2006/relationships/presProps" Target="presProps.xml"/><Relationship Id="rId20" Type="http://schemas.openxmlformats.org/officeDocument/2006/relationships/slide" Target="slides/slide9.xml"/><Relationship Id="rId41" Type="http://schemas.openxmlformats.org/officeDocument/2006/relationships/font" Target="fonts/font12.fntdata"/><Relationship Id="rId54" Type="http://schemas.openxmlformats.org/officeDocument/2006/relationships/font" Target="fonts/font25.fntdata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7.fntdata"/><Relationship Id="rId49" Type="http://schemas.openxmlformats.org/officeDocument/2006/relationships/font" Target="fonts/font20.fntdata"/><Relationship Id="rId57" Type="http://schemas.openxmlformats.org/officeDocument/2006/relationships/font" Target="fonts/font28.fntdata"/><Relationship Id="rId10" Type="http://schemas.openxmlformats.org/officeDocument/2006/relationships/slideMaster" Target="slideMasters/slideMaster7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font" Target="fonts/font23.fntdata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045FF02-9FE9-47FA-BAD5-601AD499DCB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31D7BA-1E2B-488D-A50A-6FDB54CECD1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FAD12D-9A74-460A-A1CD-2B068DAEEB73}" type="datetimeFigureOut">
              <a:rPr lang="ru-RU" smtClean="0"/>
              <a:t>18.02.2023</a:t>
            </a:fld>
            <a:endParaRPr lang="ru-R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83D270-130A-4986-8D0C-403E8B0AEE2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D42A1D-1118-4993-8B2E-3D8139E6D02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A3B44C-20DC-4E42-B003-9ED642ACC38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9127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52C827-9368-4614-9CC8-CD634EA44F85}" type="datetimeFigureOut">
              <a:rPr lang="ru-RU" smtClean="0"/>
              <a:t>18.02.2023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1EA3F7-A4AE-45C5-9F05-C4EE8BA1207E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69228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://www.axenix.pro/" TargetMode="External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sic - Light,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ED8860D-3DDF-FC6F-29DC-F49BB553827F}"/>
              </a:ext>
            </a:extLst>
          </p:cNvPr>
          <p:cNvSpPr txBox="1"/>
          <p:nvPr userDrawn="1"/>
        </p:nvSpPr>
        <p:spPr>
          <a:xfrm>
            <a:off x="4726745" y="1899138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24403CB-4D1B-B6B8-A916-1A309BA5EB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682061"/>
            <a:ext cx="7780284" cy="2148813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lnSpc>
                <a:spcPts val="4500"/>
              </a:lnSpc>
              <a:defRPr sz="4400" b="1" i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lace presentation title here in sentence case, </a:t>
            </a:r>
            <a:br>
              <a:rPr lang="en-US" dirty="0"/>
            </a:br>
            <a:r>
              <a:rPr lang="en-US" dirty="0"/>
              <a:t>max 3 lines (44pt)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44D2B78-8C69-7041-53DB-34EAC83AF7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7494" y="4922651"/>
            <a:ext cx="7786607" cy="997702"/>
          </a:xfrm>
          <a:prstGeom prst="rect">
            <a:avLst/>
          </a:prstGeom>
        </p:spPr>
        <p:txBody>
          <a:bodyPr lIns="46800">
            <a:noAutofit/>
          </a:bodyPr>
          <a:lstStyle>
            <a:lvl1pPr marL="0" indent="0">
              <a:lnSpc>
                <a:spcPct val="70000"/>
              </a:lnSpc>
              <a:defRPr sz="2500" b="0" i="0" cap="none" baseline="0">
                <a:solidFill>
                  <a:schemeClr val="tx1"/>
                </a:solidFill>
                <a:latin typeface="Montserrat" pitchFamily="2" charset="77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C000B1-F3F2-935F-B5B0-1A7A0902ECB9}"/>
              </a:ext>
            </a:extLst>
          </p:cNvPr>
          <p:cNvSpPr txBox="1"/>
          <p:nvPr userDrawn="1"/>
        </p:nvSpPr>
        <p:spPr>
          <a:xfrm>
            <a:off x="133815" y="1092820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</p:spTree>
    <p:extLst>
      <p:ext uri="{BB962C8B-B14F-4D97-AF65-F5344CB8AC3E}">
        <p14:creationId xmlns:p14="http://schemas.microsoft.com/office/powerpoint/2010/main" val="4166365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D00E3-C3AC-D978-61CB-E4E78C70803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6171" y="1681163"/>
            <a:ext cx="8072392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</a:p>
          <a:p>
            <a:pPr lvl="0"/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2275D4-53D6-3306-330A-383A446B82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76171" y="2630311"/>
            <a:ext cx="8072392" cy="377048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D2E1D3-4F2A-2082-84EC-F39FBAD06409}"/>
              </a:ext>
            </a:extLst>
          </p:cNvPr>
          <p:cNvSpPr/>
          <p:nvPr userDrawn="1"/>
        </p:nvSpPr>
        <p:spPr>
          <a:xfrm>
            <a:off x="0" y="1571674"/>
            <a:ext cx="3497179" cy="4825218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AB1469F-C4FF-70C8-6DE4-EF768617129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35360" y="1916831"/>
            <a:ext cx="2865040" cy="4149118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rgbClr val="FFFFFF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63BA7EB-5F24-78F2-DC6E-5D351E6049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3511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D00E3-C3AC-D978-61CB-E4E78C70803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6171" y="1681163"/>
            <a:ext cx="8072392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</a:p>
          <a:p>
            <a:pPr lvl="0"/>
            <a:endParaRPr lang="en-GB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AB1469F-C4FF-70C8-6DE4-EF768617129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35359" y="1681162"/>
            <a:ext cx="3244967" cy="471963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45DB1E24-6AE3-34CB-489D-F54BAF721D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3F694105-6B43-530B-E5D9-51EB4163EA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76171" y="2630311"/>
            <a:ext cx="8072392" cy="377048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7593715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8623" y="0"/>
            <a:ext cx="10711303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25pt)</a:t>
            </a:r>
          </a:p>
        </p:txBody>
      </p:sp>
    </p:spTree>
    <p:extLst>
      <p:ext uri="{BB962C8B-B14F-4D97-AF65-F5344CB8AC3E}">
        <p14:creationId xmlns:p14="http://schemas.microsoft.com/office/powerpoint/2010/main" val="1519157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C45B49-E277-AADE-2F63-1CBCC6F9BAB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8399" y="1166008"/>
            <a:ext cx="11407285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2093574"/>
            <a:ext cx="11407285" cy="42814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8623" y="0"/>
            <a:ext cx="10711303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25pt)</a:t>
            </a:r>
          </a:p>
        </p:txBody>
      </p:sp>
    </p:spTree>
    <p:extLst>
      <p:ext uri="{BB962C8B-B14F-4D97-AF65-F5344CB8AC3E}">
        <p14:creationId xmlns:p14="http://schemas.microsoft.com/office/powerpoint/2010/main" val="42410102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1162756"/>
            <a:ext cx="11407285" cy="521228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8623" y="0"/>
            <a:ext cx="10711303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25pt)</a:t>
            </a:r>
          </a:p>
        </p:txBody>
      </p:sp>
    </p:spTree>
    <p:extLst>
      <p:ext uri="{BB962C8B-B14F-4D97-AF65-F5344CB8AC3E}">
        <p14:creationId xmlns:p14="http://schemas.microsoft.com/office/powerpoint/2010/main" val="343718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C45B49-E277-AADE-2F63-1CBCC6F9BAB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8399" y="1166008"/>
            <a:ext cx="7010787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2093574"/>
            <a:ext cx="6995289" cy="42814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8623" y="0"/>
            <a:ext cx="10711303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25pt)</a:t>
            </a:r>
          </a:p>
        </p:txBody>
      </p:sp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49E6B120-9D2E-5E78-D594-72343BF6483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32916" y="1169718"/>
            <a:ext cx="4190998" cy="4518159"/>
          </a:xfrm>
          <a:prstGeom prst="rect">
            <a:avLst/>
          </a:prstGeom>
          <a:solidFill>
            <a:srgbClr val="FFFFFF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1401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D7C4B7A2-519B-C2F6-7D7C-49B67B943E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8623" y="0"/>
            <a:ext cx="10711303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25pt)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C45B49-E277-AADE-2F63-1CBCC6F9BAB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8399" y="1166008"/>
            <a:ext cx="11407285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2093574"/>
            <a:ext cx="11407285" cy="42814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CA919E1-4432-185E-5C2C-CC472B6248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02217" y="618187"/>
            <a:ext cx="10707710" cy="2704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 b="0" cap="none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39521650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30133E-E0F7-70DF-87AA-D12DD6D55E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7662" y="2118493"/>
            <a:ext cx="5419346" cy="3523915"/>
          </a:xfrm>
          <a:prstGeom prst="rect">
            <a:avLst/>
          </a:prstGeom>
        </p:spPr>
        <p:txBody>
          <a:bodyPr lIns="90000"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0C68F77-C82F-2046-4074-7E621D866CB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7662" y="1166400"/>
            <a:ext cx="5406467" cy="823912"/>
          </a:xfrm>
          <a:prstGeom prst="rect">
            <a:avLst/>
          </a:prstGeom>
        </p:spPr>
        <p:txBody>
          <a:bodyPr lIns="90000"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</a:p>
          <a:p>
            <a:pPr lvl="0"/>
            <a:r>
              <a:rPr lang="en-US" dirty="0" err="1"/>
              <a:t>gakrgjkjgkjgr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9FC30C4-97A7-7456-76D1-87DCA6D50A8A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168008" y="2118493"/>
            <a:ext cx="5419346" cy="3523915"/>
          </a:xfrm>
          <a:prstGeom prst="rect">
            <a:avLst/>
          </a:prstGeom>
        </p:spPr>
        <p:txBody>
          <a:bodyPr lIns="90000"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C917045-F730-CABF-E020-3973462F015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68008" y="1166400"/>
            <a:ext cx="5406467" cy="823912"/>
          </a:xfrm>
          <a:prstGeom prst="rect">
            <a:avLst/>
          </a:prstGeom>
        </p:spPr>
        <p:txBody>
          <a:bodyPr lIns="90000"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</a:p>
          <a:p>
            <a:pPr lvl="0"/>
            <a:r>
              <a:rPr lang="en-US" dirty="0" err="1"/>
              <a:t>gakrgjkjgkjgr</a:t>
            </a:r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E2AFE3-7F48-196E-E535-158AD7DBCE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8624" y="0"/>
            <a:ext cx="1072418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25pt)</a:t>
            </a:r>
          </a:p>
        </p:txBody>
      </p:sp>
    </p:spTree>
    <p:extLst>
      <p:ext uri="{BB962C8B-B14F-4D97-AF65-F5344CB8AC3E}">
        <p14:creationId xmlns:p14="http://schemas.microsoft.com/office/powerpoint/2010/main" val="9733631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D00E3-C3AC-D978-61CB-E4E78C70803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6171" y="1166008"/>
            <a:ext cx="8072392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</a:p>
          <a:p>
            <a:pPr lvl="0"/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2275D4-53D6-3306-330A-383A446B82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76171" y="2125386"/>
            <a:ext cx="8072392" cy="398587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D2E1D3-4F2A-2082-84EC-F39FBAD06409}"/>
              </a:ext>
            </a:extLst>
          </p:cNvPr>
          <p:cNvSpPr/>
          <p:nvPr userDrawn="1"/>
        </p:nvSpPr>
        <p:spPr>
          <a:xfrm>
            <a:off x="0" y="1146671"/>
            <a:ext cx="3497179" cy="4825218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AB1469F-C4FF-70C8-6DE4-EF768617129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35360" y="1491828"/>
            <a:ext cx="2865040" cy="4149118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rgbClr val="FFFFFF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5564F46-DD17-F1DE-839E-581AEE3B8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8623" y="0"/>
            <a:ext cx="10737061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25pt)</a:t>
            </a:r>
          </a:p>
        </p:txBody>
      </p:sp>
    </p:spTree>
    <p:extLst>
      <p:ext uri="{BB962C8B-B14F-4D97-AF65-F5344CB8AC3E}">
        <p14:creationId xmlns:p14="http://schemas.microsoft.com/office/powerpoint/2010/main" val="17999443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D00E3-C3AC-D978-61CB-E4E78C70803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6171" y="1166008"/>
            <a:ext cx="8072392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</a:p>
          <a:p>
            <a:pPr lvl="0"/>
            <a:endParaRPr lang="en-GB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AB1469F-C4FF-70C8-6DE4-EF768617129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35359" y="1166007"/>
            <a:ext cx="3244967" cy="49638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F009DB00-5A78-E648-8FD6-E0AD0AB9B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8624" y="0"/>
            <a:ext cx="1072418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25pt)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9BB4799-FCEA-5DBA-D64D-66781214B9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76171" y="2125386"/>
            <a:ext cx="8072392" cy="398587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2391457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51B3EAE-2D2B-7469-87BD-33412D2C0FAD}"/>
              </a:ext>
            </a:extLst>
          </p:cNvPr>
          <p:cNvSpPr txBox="1"/>
          <p:nvPr userDrawn="1"/>
        </p:nvSpPr>
        <p:spPr>
          <a:xfrm>
            <a:off x="7715250" y="6343650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408437-2065-ACAC-54AA-877BF1ED9D49}"/>
              </a:ext>
            </a:extLst>
          </p:cNvPr>
          <p:cNvSpPr txBox="1"/>
          <p:nvPr userDrawn="1"/>
        </p:nvSpPr>
        <p:spPr>
          <a:xfrm>
            <a:off x="6709410" y="6366510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2ACCF56-B14F-D254-F1A6-41FCC102DB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104" y="3073770"/>
            <a:ext cx="9588821" cy="1972363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marL="0" marR="0" indent="0" algn="l" defTabSz="914377" rtl="0" eaLnBrk="1" fontAlgn="auto" latinLnBrk="0" hangingPunct="1">
              <a:lnSpc>
                <a:spcPts val="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rgbClr val="FFFFFF"/>
                </a:solidFill>
                <a:latin typeface="Montserrat" pitchFamily="2" charset="-52"/>
              </a:defRPr>
            </a:lvl1pPr>
          </a:lstStyle>
          <a:p>
            <a:r>
              <a:rPr lang="en-US" dirty="0"/>
              <a:t>Place presentation title </a:t>
            </a:r>
            <a:br>
              <a:rPr lang="ru-RU" dirty="0"/>
            </a:br>
            <a:r>
              <a:rPr lang="en-US" dirty="0"/>
              <a:t>here in sentence case, </a:t>
            </a:r>
            <a:br>
              <a:rPr lang="en-US" dirty="0"/>
            </a:br>
            <a:r>
              <a:rPr lang="en-US" dirty="0"/>
              <a:t>max 3 lin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5489F64-A49B-9A57-CB7B-479F91A1C0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7599" y="5066004"/>
            <a:ext cx="7786607" cy="476067"/>
          </a:xfrm>
          <a:prstGeom prst="rect">
            <a:avLst/>
          </a:prstGeom>
        </p:spPr>
        <p:txBody>
          <a:bodyPr lIns="46800">
            <a:noAutofit/>
          </a:bodyPr>
          <a:lstStyle>
            <a:lvl1pPr marL="0" indent="0">
              <a:lnSpc>
                <a:spcPct val="70000"/>
              </a:lnSpc>
              <a:defRPr sz="2500" b="0" i="0" cap="none" baseline="0">
                <a:solidFill>
                  <a:srgbClr val="FFFFFF"/>
                </a:solidFill>
                <a:latin typeface="Montserrat" pitchFamily="2" charset="77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4C4B211-5D9F-DE5F-05D2-B6B5D23B3C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7599" y="5661248"/>
            <a:ext cx="7786607" cy="476067"/>
          </a:xfrm>
          <a:prstGeom prst="rect">
            <a:avLst/>
          </a:prstGeom>
        </p:spPr>
        <p:txBody>
          <a:bodyPr lIns="46800">
            <a:noAutofit/>
          </a:bodyPr>
          <a:lstStyle>
            <a:lvl1pPr marL="0" indent="0">
              <a:lnSpc>
                <a:spcPct val="70000"/>
              </a:lnSpc>
              <a:defRPr sz="2000" b="0" i="0" cap="none" baseline="0">
                <a:solidFill>
                  <a:srgbClr val="FFFFFF"/>
                </a:solidFill>
                <a:latin typeface="Montserrat" pitchFamily="2" charset="77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29681515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26A0E-86C5-47F8-A874-EA61201F49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7BAA6A-B0DE-4760-AE98-21A6A74022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B168AB-821F-4E9C-94EF-A38F1BA253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785757-23F2-4A4A-A84C-D766BB1190C0}" type="datetimeFigureOut">
              <a:rPr lang="en-US" smtClean="0"/>
              <a:t>2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EEA940-0A89-485F-9567-21B9ADD258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E322E5-9B7C-47B0-9031-5A631416D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49D09F-1DB0-46C5-89C3-B5B20E002B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9446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C7B38-C2AC-461B-B616-416685653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352515-9A6F-455D-8E63-CB0DD8983D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20680F-115C-4645-B683-280F8B2B2B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785757-23F2-4A4A-A84C-D766BB1190C0}" type="datetimeFigureOut">
              <a:rPr lang="en-US" smtClean="0"/>
              <a:t>2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C7B5E6-E187-4432-9610-3D49EC528D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4E808F-80BF-43F6-B932-3900CF1C15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49D09F-1DB0-46C5-89C3-B5B20E002B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1931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52803B-B7C0-4066-B0C6-067E532D9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0C2E20-AFFC-44AE-8575-047ADBB113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7E3A73-BF79-4F50-92BF-A9E4565020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785757-23F2-4A4A-A84C-D766BB1190C0}" type="datetimeFigureOut">
              <a:rPr lang="en-US" smtClean="0"/>
              <a:t>2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CFDBEC-62E6-46B8-95EB-A07C508F81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A32291-DDE4-47B4-8A2B-7EA706B39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49D09F-1DB0-46C5-89C3-B5B20E002B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8860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D9FFED-B2CD-4082-9E8F-8A9FAACAF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55C498-9E46-47EB-8986-412A0F074E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195D50-1235-48C2-9F1D-586DE21AAB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7202B7-FC98-4C14-A735-345E8C5D4F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785757-23F2-4A4A-A84C-D766BB1190C0}" type="datetimeFigureOut">
              <a:rPr lang="en-US" smtClean="0"/>
              <a:t>2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0B5A9E-120D-41C1-910B-8BF0552D0D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6EFFD2-48E5-41AE-83A2-ADBFBA84F1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49D09F-1DB0-46C5-89C3-B5B20E002B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0250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3C62C-5907-4726-BD8C-51F29375B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BB602C-E0FD-4024-BD81-ED1D371744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399E90-6916-4F5F-954B-06392A7F90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D48762-3D01-4DF2-A27C-CC5676B4373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5D7F-AA8D-41E1-A571-14F7AAE88EE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7D2A3D-1BE3-412B-A424-4BF8B2F3843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785757-23F2-4A4A-A84C-D766BB1190C0}" type="datetimeFigureOut">
              <a:rPr lang="en-US" smtClean="0"/>
              <a:t>2/18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898F315-ABE7-4823-BFC0-C16661A696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9BA68D-2355-4A05-A0A5-CD00F0FC8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49D09F-1DB0-46C5-89C3-B5B20E002B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8706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AACEC2-1854-4248-A29F-A9B2D06C89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0CC815-6BF5-45CE-8E11-AD54DB2455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785757-23F2-4A4A-A84C-D766BB1190C0}" type="datetimeFigureOut">
              <a:rPr lang="en-US" smtClean="0"/>
              <a:t>2/1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B73050-49EF-4255-9070-CE66BD991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57585D-A1B9-486C-BA5F-41FB6ACFA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49D09F-1DB0-46C5-89C3-B5B20E002B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6037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5FE5B24-991E-421C-8054-6C7C4C377D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785757-23F2-4A4A-A84C-D766BB1190C0}" type="datetimeFigureOut">
              <a:rPr lang="en-US" smtClean="0"/>
              <a:t>2/1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DD144D-23DE-45E0-9E7E-EF77862303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A12F3A-7A2A-4134-845C-F8DD017ED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49D09F-1DB0-46C5-89C3-B5B20E002B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1125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8B7994-BB56-4CAC-87FE-910958149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E43108-B37E-4065-90BA-1D9D428328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6BD172-D0B5-4441-8AC9-46E92EE088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4D6341-81BA-445D-B4F4-860906FED0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785757-23F2-4A4A-A84C-D766BB1190C0}" type="datetimeFigureOut">
              <a:rPr lang="en-US" smtClean="0"/>
              <a:t>2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4E1C66-F025-495E-8FD1-F8FD16BC2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E4BEF2-0378-45CF-89C8-33452FBCBF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49D09F-1DB0-46C5-89C3-B5B20E002B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0973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6C626A-8A26-4A36-96A2-3AAD65DA7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1E7EC4-C491-4C5B-BA08-0BD7E74F0E3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A56C75-785B-43A4-98BA-C4CB5C4FA4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8E63AB-3444-4CA7-AADD-789A4EAF27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785757-23F2-4A4A-A84C-D766BB1190C0}" type="datetimeFigureOut">
              <a:rPr lang="en-US" smtClean="0"/>
              <a:t>2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BD76A4-A8F0-49C9-9494-2F1961AF9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D6E91-051C-48DA-9A2D-03EFBAF05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49D09F-1DB0-46C5-89C3-B5B20E002B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2559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4F23CA-5F89-4B11-AE3F-65688FF65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CE93A7-68A4-4512-A0DA-E75BD029A1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C543CF-E728-4FE1-8FCA-8632E05EF0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785757-23F2-4A4A-A84C-D766BB1190C0}" type="datetimeFigureOut">
              <a:rPr lang="en-US" smtClean="0"/>
              <a:t>2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46592B-E1A7-4F19-8000-6BD94FF48C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A0814F-A5FA-45E2-8D55-60178D88F9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49D09F-1DB0-46C5-89C3-B5B20E002B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556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90F8A038-F79B-4C13-9287-8AFC932377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17B1981-8588-A37B-2188-2B3AF38C7497}"/>
              </a:ext>
            </a:extLst>
          </p:cNvPr>
          <p:cNvSpPr/>
          <p:nvPr userDrawn="1"/>
        </p:nvSpPr>
        <p:spPr>
          <a:xfrm>
            <a:off x="5052060" y="354330"/>
            <a:ext cx="6800850" cy="6172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A67B93-5503-49C7-ADB5-EF3AECD1A8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1196" y="1597537"/>
            <a:ext cx="4395264" cy="2482973"/>
          </a:xfrm>
          <a:prstGeom prst="rect">
            <a:avLst/>
          </a:prstGeom>
        </p:spPr>
        <p:txBody>
          <a:bodyPr tIns="0" bIns="0" anchor="b">
            <a:normAutofit/>
          </a:bodyPr>
          <a:lstStyle>
            <a:lvl1pPr algn="ctr">
              <a:lnSpc>
                <a:spcPct val="70000"/>
              </a:lnSpc>
              <a:defRPr sz="7200">
                <a:solidFill>
                  <a:srgbClr val="FFFFFF"/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2" name="Text Placeholder 44">
            <a:extLst>
              <a:ext uri="{FF2B5EF4-FFF2-40B4-BE49-F238E27FC236}">
                <a16:creationId xmlns:a16="http://schemas.microsoft.com/office/drawing/2014/main" id="{FDE571CC-167D-47E3-8000-11E1185523A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10716" y="3580468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="1" i="0" u="sng">
                <a:solidFill>
                  <a:srgbClr val="FF7000"/>
                </a:solidFill>
                <a:latin typeface="Montserrat ExtraBold" pitchFamily="2" charset="77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73" name="Text Placeholder 44">
            <a:extLst>
              <a:ext uri="{FF2B5EF4-FFF2-40B4-BE49-F238E27FC236}">
                <a16:creationId xmlns:a16="http://schemas.microsoft.com/office/drawing/2014/main" id="{67D8E360-3B8E-42E3-A131-BBB8259C20D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687389" y="3580468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="1" i="0" u="sng">
                <a:solidFill>
                  <a:srgbClr val="FF7000"/>
                </a:solidFill>
                <a:latin typeface="Montserrat ExtraBold" pitchFamily="2" charset="77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74" name="Text Placeholder 44">
            <a:extLst>
              <a:ext uri="{FF2B5EF4-FFF2-40B4-BE49-F238E27FC236}">
                <a16:creationId xmlns:a16="http://schemas.microsoft.com/office/drawing/2014/main" id="{95023161-89C9-4A6B-93C9-5CCEA219CEE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906914" y="3580468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="1" i="0" u="sng">
                <a:solidFill>
                  <a:srgbClr val="FF7000"/>
                </a:solidFill>
                <a:latin typeface="Montserrat ExtraBold" pitchFamily="2" charset="77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77" name="Text Placeholder 44">
            <a:extLst>
              <a:ext uri="{FF2B5EF4-FFF2-40B4-BE49-F238E27FC236}">
                <a16:creationId xmlns:a16="http://schemas.microsoft.com/office/drawing/2014/main" id="{3D1567CD-545E-4481-AA52-EAB26F307DE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410716" y="1597537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="1" i="0" u="sng">
                <a:solidFill>
                  <a:srgbClr val="FF7000"/>
                </a:solidFill>
                <a:latin typeface="Montserrat ExtraBold" pitchFamily="2" charset="77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78" name="Text Placeholder 44">
            <a:extLst>
              <a:ext uri="{FF2B5EF4-FFF2-40B4-BE49-F238E27FC236}">
                <a16:creationId xmlns:a16="http://schemas.microsoft.com/office/drawing/2014/main" id="{C4A7E19B-BA4C-4167-B678-685C3673D0E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687389" y="1597537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="1" i="0" u="sng">
                <a:solidFill>
                  <a:srgbClr val="FF7000"/>
                </a:solidFill>
                <a:latin typeface="Montserrat ExtraBold" pitchFamily="2" charset="77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79" name="Text Placeholder 44">
            <a:extLst>
              <a:ext uri="{FF2B5EF4-FFF2-40B4-BE49-F238E27FC236}">
                <a16:creationId xmlns:a16="http://schemas.microsoft.com/office/drawing/2014/main" id="{33092D62-8436-4A51-8071-52D0BA46EF8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906914" y="1597537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="1" i="0" u="sng">
                <a:solidFill>
                  <a:srgbClr val="FF7000"/>
                </a:solidFill>
                <a:latin typeface="Montserrat ExtraBold" pitchFamily="2" charset="77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22F4D46-D274-4F10-ABA0-DD9EA3E9201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402461" y="2441622"/>
            <a:ext cx="1580870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Montserrat" pitchFamily="2" charset="77"/>
              </a:defRPr>
            </a:lvl1pPr>
            <a:lvl2pPr marL="55562" indent="0">
              <a:buNone/>
              <a:defRPr>
                <a:latin typeface="Montserrat" panose="020B0503030202060203" pitchFamily="34" charset="0"/>
              </a:defRPr>
            </a:lvl2pPr>
            <a:lvl3pPr>
              <a:defRPr>
                <a:latin typeface="Montserrat" panose="020B0503030202060203" pitchFamily="34" charset="0"/>
              </a:defRPr>
            </a:lvl3pPr>
            <a:lvl4pPr>
              <a:defRPr>
                <a:latin typeface="Montserrat" panose="020B0503030202060203" pitchFamily="34" charset="0"/>
              </a:defRPr>
            </a:lvl4pPr>
            <a:lvl5pPr>
              <a:defRPr>
                <a:latin typeface="Montserrat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9F91BFBD-9636-4FD4-8F52-6E39E26F072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687389" y="2425856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Montserrat" pitchFamily="2" charset="77"/>
              </a:defRPr>
            </a:lvl1pPr>
            <a:lvl2pPr marL="55562" indent="0">
              <a:buNone/>
              <a:defRPr>
                <a:latin typeface="Montserrat" panose="020B0503030202060203" pitchFamily="34" charset="0"/>
              </a:defRPr>
            </a:lvl2pPr>
            <a:lvl3pPr>
              <a:defRPr>
                <a:latin typeface="Montserrat" panose="020B0503030202060203" pitchFamily="34" charset="0"/>
              </a:defRPr>
            </a:lvl3pPr>
            <a:lvl4pPr>
              <a:defRPr>
                <a:latin typeface="Montserrat" panose="020B0503030202060203" pitchFamily="34" charset="0"/>
              </a:defRPr>
            </a:lvl4pPr>
            <a:lvl5pPr>
              <a:defRPr>
                <a:latin typeface="Montserrat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F01AF8C0-E88B-47D4-9C57-68C82E55FF5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906912" y="2424014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Montserrat" pitchFamily="2" charset="77"/>
              </a:defRPr>
            </a:lvl1pPr>
            <a:lvl2pPr marL="55562" indent="0">
              <a:buNone/>
              <a:defRPr>
                <a:latin typeface="Montserrat" panose="020B0503030202060203" pitchFamily="34" charset="0"/>
              </a:defRPr>
            </a:lvl2pPr>
            <a:lvl3pPr>
              <a:defRPr>
                <a:latin typeface="Montserrat" panose="020B0503030202060203" pitchFamily="34" charset="0"/>
              </a:defRPr>
            </a:lvl3pPr>
            <a:lvl4pPr>
              <a:defRPr>
                <a:latin typeface="Montserrat" panose="020B0503030202060203" pitchFamily="34" charset="0"/>
              </a:defRPr>
            </a:lvl4pPr>
            <a:lvl5pPr>
              <a:defRPr>
                <a:latin typeface="Montserrat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FC4FC8D5-B96C-437B-A281-3F7C9C7D71C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394206" y="4424552"/>
            <a:ext cx="1580870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Montserrat" pitchFamily="2" charset="77"/>
              </a:defRPr>
            </a:lvl1pPr>
            <a:lvl2pPr marL="55562" indent="0">
              <a:buNone/>
              <a:defRPr>
                <a:latin typeface="Montserrat" panose="020B0503030202060203" pitchFamily="34" charset="0"/>
              </a:defRPr>
            </a:lvl2pPr>
            <a:lvl3pPr>
              <a:defRPr>
                <a:latin typeface="Montserrat" panose="020B0503030202060203" pitchFamily="34" charset="0"/>
              </a:defRPr>
            </a:lvl3pPr>
            <a:lvl4pPr>
              <a:defRPr>
                <a:latin typeface="Montserrat" panose="020B0503030202060203" pitchFamily="34" charset="0"/>
              </a:defRPr>
            </a:lvl4pPr>
            <a:lvl5pPr>
              <a:defRPr>
                <a:latin typeface="Montserrat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8FD560F8-78FC-4428-9882-3934D9CBB659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679134" y="4408786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Montserrat" pitchFamily="2" charset="77"/>
              </a:defRPr>
            </a:lvl1pPr>
            <a:lvl2pPr marL="55562" indent="0">
              <a:buNone/>
              <a:defRPr>
                <a:latin typeface="Montserrat" panose="020B0503030202060203" pitchFamily="34" charset="0"/>
              </a:defRPr>
            </a:lvl2pPr>
            <a:lvl3pPr>
              <a:defRPr>
                <a:latin typeface="Montserrat" panose="020B0503030202060203" pitchFamily="34" charset="0"/>
              </a:defRPr>
            </a:lvl3pPr>
            <a:lvl4pPr>
              <a:defRPr>
                <a:latin typeface="Montserrat" panose="020B0503030202060203" pitchFamily="34" charset="0"/>
              </a:defRPr>
            </a:lvl4pPr>
            <a:lvl5pPr>
              <a:defRPr>
                <a:latin typeface="Montserrat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176CA42E-BDE9-4A57-B993-296EED1BCB4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898657" y="4406944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Montserrat" pitchFamily="2" charset="77"/>
              </a:defRPr>
            </a:lvl1pPr>
            <a:lvl2pPr marL="55562" indent="0">
              <a:buNone/>
              <a:defRPr>
                <a:latin typeface="Montserrat" panose="020B0503030202060203" pitchFamily="34" charset="0"/>
              </a:defRPr>
            </a:lvl2pPr>
            <a:lvl3pPr>
              <a:defRPr>
                <a:latin typeface="Montserrat" panose="020B0503030202060203" pitchFamily="34" charset="0"/>
              </a:defRPr>
            </a:lvl3pPr>
            <a:lvl4pPr>
              <a:defRPr>
                <a:latin typeface="Montserrat" panose="020B0503030202060203" pitchFamily="34" charset="0"/>
              </a:defRPr>
            </a:lvl4pPr>
            <a:lvl5pPr>
              <a:defRPr>
                <a:latin typeface="Montserrat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6B1917-ECF5-2AB2-79CD-1D2E969A9CB1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</a:t>
            </a:r>
            <a:r>
              <a:rPr lang="ru-RU" sz="900" dirty="0">
                <a:latin typeface="Montserrat" pitchFamily="2" charset="77"/>
              </a:rPr>
              <a:t>3</a:t>
            </a:r>
            <a:r>
              <a:rPr lang="en-RU" sz="900" dirty="0">
                <a:latin typeface="Montserrat" pitchFamily="2" charset="77"/>
              </a:rPr>
              <a:t> ООО «АксТим»	 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69A0123-F78D-1560-6969-AACFD613CEE8}"/>
              </a:ext>
            </a:extLst>
          </p:cNvPr>
          <p:cNvSpPr txBox="1">
            <a:spLocks/>
          </p:cNvSpPr>
          <p:nvPr userDrawn="1"/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67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8AB29E3-5C07-46D4-988C-AE59A92C4C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95EA71-4A03-436F-831A-E079AE1070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4D895B-4316-454C-8519-BB27E2F807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785757-23F2-4A4A-A84C-D766BB1190C0}" type="datetimeFigureOut">
              <a:rPr lang="en-US" smtClean="0"/>
              <a:t>2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D8B1A6-46C2-43CD-ACBC-E5ADF5F8B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6EEA2D-6D0D-4037-B4BD-21E05CD48F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49D09F-1DB0-46C5-89C3-B5B20E002B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0677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sic - Light,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1BABE23-C276-BFF1-9AD9-4CACB772B4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619111"/>
            <a:ext cx="7780284" cy="2148813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lnSpc>
                <a:spcPct val="100000"/>
              </a:lnSpc>
              <a:defRPr sz="4400" b="1" i="0">
                <a:solidFill>
                  <a:srgbClr val="FFFFFF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Place presentation title here in sentence case, </a:t>
            </a:r>
            <a:br>
              <a:rPr lang="en-US" dirty="0"/>
            </a:br>
            <a:r>
              <a:rPr lang="en-US" dirty="0"/>
              <a:t>max 3 lines (44pt)</a:t>
            </a:r>
          </a:p>
        </p:txBody>
      </p:sp>
    </p:spTree>
    <p:extLst>
      <p:ext uri="{BB962C8B-B14F-4D97-AF65-F5344CB8AC3E}">
        <p14:creationId xmlns:p14="http://schemas.microsoft.com/office/powerpoint/2010/main" val="2581338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323DE41-3D75-429F-B94D-312618C214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C22ADE5-3B61-ADF6-A649-FE3681340F22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</a:t>
            </a:r>
            <a:r>
              <a:rPr lang="ru-RU" sz="900" dirty="0">
                <a:latin typeface="Montserrat" pitchFamily="2" charset="77"/>
              </a:rPr>
              <a:t>3</a:t>
            </a:r>
            <a:r>
              <a:rPr lang="en-RU" sz="900" dirty="0">
                <a:latin typeface="Montserrat" pitchFamily="2" charset="77"/>
              </a:rPr>
              <a:t> ООО «АксТим»	 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CC5E3CF-EAB9-8575-B3B9-E72AD3A4630E}"/>
              </a:ext>
            </a:extLst>
          </p:cNvPr>
          <p:cNvSpPr txBox="1">
            <a:spLocks/>
          </p:cNvSpPr>
          <p:nvPr userDrawn="1"/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E9526E1-7FC8-DCBE-6C75-2C54BC0467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12" r="6566"/>
          <a:stretch/>
        </p:blipFill>
        <p:spPr>
          <a:xfrm>
            <a:off x="7450518" y="0"/>
            <a:ext cx="4741482" cy="660227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462866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rgbClr val="FFFFFF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Place headline here (36pt, min 30pt)</a:t>
            </a:r>
          </a:p>
        </p:txBody>
      </p:sp>
    </p:spTree>
    <p:extLst>
      <p:ext uri="{BB962C8B-B14F-4D97-AF65-F5344CB8AC3E}">
        <p14:creationId xmlns:p14="http://schemas.microsoft.com/office/powerpoint/2010/main" val="320809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sic - Light,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AF83D76-F93A-4D71-3281-B8235758B8C3}"/>
              </a:ext>
            </a:extLst>
          </p:cNvPr>
          <p:cNvSpPr txBox="1"/>
          <p:nvPr userDrawn="1"/>
        </p:nvSpPr>
        <p:spPr>
          <a:xfrm>
            <a:off x="1070517" y="367990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05488D-5061-B24E-9357-03D8C4FC8F50}"/>
              </a:ext>
            </a:extLst>
          </p:cNvPr>
          <p:cNvSpPr txBox="1"/>
          <p:nvPr userDrawn="1"/>
        </p:nvSpPr>
        <p:spPr>
          <a:xfrm>
            <a:off x="1706137" y="3546088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35968FE-210E-B837-EBC5-C1C4802626F4}"/>
              </a:ext>
            </a:extLst>
          </p:cNvPr>
          <p:cNvSpPr/>
          <p:nvPr userDrawn="1"/>
        </p:nvSpPr>
        <p:spPr>
          <a:xfrm>
            <a:off x="487263" y="4779129"/>
            <a:ext cx="4416287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900" b="1" dirty="0">
                <a:effectLst/>
                <a:latin typeface="Montserrat" pitchFamily="2" charset="-52"/>
                <a:ea typeface="Calibri" panose="020F0502020204030204" pitchFamily="34" charset="0"/>
              </a:rPr>
              <a:t>О компании </a:t>
            </a:r>
            <a:r>
              <a:rPr lang="en-US" sz="900" b="1" dirty="0">
                <a:effectLst/>
                <a:latin typeface="Montserrat" pitchFamily="2" charset="-52"/>
                <a:ea typeface="Calibri" panose="020F0502020204030204" pitchFamily="34" charset="0"/>
              </a:rPr>
              <a:t>AXENIX</a:t>
            </a:r>
            <a:endParaRPr lang="ru-RU" sz="900" dirty="0">
              <a:effectLst/>
              <a:latin typeface="Montserrat" pitchFamily="2" charset="-52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900" dirty="0">
                <a:effectLst/>
                <a:latin typeface="Montserrat" pitchFamily="2" charset="-52"/>
                <a:ea typeface="Calibri" panose="020F0502020204030204" pitchFamily="34" charset="0"/>
              </a:rPr>
              <a:t>AXENIX </a:t>
            </a:r>
            <a:r>
              <a:rPr lang="ru-RU" sz="900" dirty="0">
                <a:effectLst/>
                <a:latin typeface="Montserrat" pitchFamily="2" charset="-52"/>
                <a:ea typeface="Calibri" panose="020F0502020204030204" pitchFamily="34" charset="0"/>
              </a:rPr>
              <a:t>(ex-Accenture) – российская компания, предоставляющая широкий спектр профессиональных услуг в области цифровых сервисов, облачных технологий и решений для обеспечения информационной безопасности. В офисах и центрах разработки </a:t>
            </a:r>
            <a:br>
              <a:rPr lang="ru-RU" sz="900" dirty="0">
                <a:effectLst/>
                <a:latin typeface="Montserrat" pitchFamily="2" charset="-52"/>
                <a:ea typeface="Calibri" panose="020F0502020204030204" pitchFamily="34" charset="0"/>
              </a:rPr>
            </a:br>
            <a:r>
              <a:rPr lang="ru-RU" sz="900" dirty="0">
                <a:effectLst/>
                <a:latin typeface="Montserrat" pitchFamily="2" charset="-52"/>
                <a:ea typeface="Calibri" panose="020F0502020204030204" pitchFamily="34" charset="0"/>
              </a:rPr>
              <a:t>в Москве, Твери, Ростове-на-Дону, Краснодаре, Санкт-Петербурге </a:t>
            </a:r>
            <a:br>
              <a:rPr lang="ru-RU" sz="900" dirty="0">
                <a:effectLst/>
                <a:latin typeface="Montserrat" pitchFamily="2" charset="-52"/>
                <a:ea typeface="Calibri" panose="020F0502020204030204" pitchFamily="34" charset="0"/>
              </a:rPr>
            </a:br>
            <a:r>
              <a:rPr lang="ru-RU" sz="900" dirty="0">
                <a:effectLst/>
                <a:latin typeface="Montserrat" pitchFamily="2" charset="-52"/>
                <a:ea typeface="Calibri" panose="020F0502020204030204" pitchFamily="34" charset="0"/>
              </a:rPr>
              <a:t>и Алматы работают около 2 000 сотрудников. Благодаря сочетанию уникальных знаний, опыта и компетенций более чем в 40 отраслях, предлагает услуги в области стратегии и бизнес-консалтинга, технологических решений и других операций, направленных </a:t>
            </a:r>
            <a:br>
              <a:rPr lang="ru-RU" sz="900" dirty="0">
                <a:effectLst/>
                <a:latin typeface="Montserrat" pitchFamily="2" charset="-52"/>
                <a:ea typeface="Calibri" panose="020F0502020204030204" pitchFamily="34" charset="0"/>
              </a:rPr>
            </a:br>
            <a:r>
              <a:rPr lang="ru-RU" sz="900" dirty="0">
                <a:effectLst/>
                <a:latin typeface="Montserrat" pitchFamily="2" charset="-52"/>
                <a:ea typeface="Calibri" panose="020F0502020204030204" pitchFamily="34" charset="0"/>
              </a:rPr>
              <a:t>на цифровизацию бизнеса. Подробнее на  </a:t>
            </a:r>
            <a:r>
              <a:rPr lang="en-US" sz="900" u="none" dirty="0">
                <a:solidFill>
                  <a:srgbClr val="FFFFFF"/>
                </a:solidFill>
                <a:effectLst/>
                <a:latin typeface="Montserrat" pitchFamily="2" charset="-52"/>
                <a:ea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xenix.pro</a:t>
            </a:r>
            <a:endParaRPr lang="ru-RU" sz="900" u="none" dirty="0">
              <a:solidFill>
                <a:srgbClr val="FFFFFF"/>
              </a:solidFill>
              <a:effectLst/>
              <a:latin typeface="Montserrat" pitchFamily="2" charset="-52"/>
              <a:ea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E4A54D-535F-ECB8-BF07-B4FE2B5F8D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1823" y="4800600"/>
            <a:ext cx="1315517" cy="1655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214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64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1670756"/>
            <a:ext cx="11407285" cy="451890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458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C45B49-E277-AADE-2F63-1CBCC6F9BAB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8399" y="1681163"/>
            <a:ext cx="11407285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2608729"/>
            <a:ext cx="11407285" cy="358093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138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C45B49-E277-AADE-2F63-1CBCC6F9BAB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8400" y="1681163"/>
            <a:ext cx="7041784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2608729"/>
            <a:ext cx="7072781" cy="358093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88A49B5E-0622-0DCA-5E61-9C6EC11281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32916" y="1681162"/>
            <a:ext cx="4190998" cy="4518159"/>
          </a:xfrm>
          <a:prstGeom prst="rect">
            <a:avLst/>
          </a:prstGeo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6910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C01E5B58-D84A-59E3-60BB-997737337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C45B49-E277-AADE-2F63-1CBCC6F9BAB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8399" y="1681163"/>
            <a:ext cx="11407285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2608729"/>
            <a:ext cx="11407285" cy="358093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A4FA1A80-78CE-5A24-E0FF-73A2D12DC6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14341" y="850006"/>
            <a:ext cx="10334222" cy="3188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300" b="0" cap="none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16078870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30133E-E0F7-70DF-87AA-D12DD6D55E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7662" y="2619180"/>
            <a:ext cx="5419346" cy="3523915"/>
          </a:xfrm>
          <a:prstGeom prst="rect">
            <a:avLst/>
          </a:prstGeom>
        </p:spPr>
        <p:txBody>
          <a:bodyPr lIns="90000"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0C68F77-C82F-2046-4074-7E621D866CB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7662" y="1681163"/>
            <a:ext cx="5406467" cy="823912"/>
          </a:xfrm>
          <a:prstGeom prst="rect">
            <a:avLst/>
          </a:prstGeom>
        </p:spPr>
        <p:txBody>
          <a:bodyPr lIns="90000"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</a:p>
          <a:p>
            <a:pPr lvl="0"/>
            <a:r>
              <a:rPr lang="en-US" dirty="0" err="1"/>
              <a:t>gakrgjkjgkjgr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9FC30C4-97A7-7456-76D1-87DCA6D50A8A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168008" y="2619180"/>
            <a:ext cx="5419346" cy="3523915"/>
          </a:xfrm>
          <a:prstGeom prst="rect">
            <a:avLst/>
          </a:prstGeom>
        </p:spPr>
        <p:txBody>
          <a:bodyPr lIns="90000"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C917045-F730-CABF-E020-3973462F015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68008" y="1681163"/>
            <a:ext cx="5406467" cy="823912"/>
          </a:xfrm>
          <a:prstGeom prst="rect">
            <a:avLst/>
          </a:prstGeom>
        </p:spPr>
        <p:txBody>
          <a:bodyPr lIns="90000"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</a:p>
          <a:p>
            <a:pPr lvl="0"/>
            <a:r>
              <a:rPr lang="en-US" dirty="0" err="1"/>
              <a:t>gakrgjkjgkjgr</a:t>
            </a:r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4EC3972-B4FA-479A-A08B-5265A09BF1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9563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vmlDrawing" Target="../drawings/vmlDrawing2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6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8.emf"/><Relationship Id="rId4" Type="http://schemas.openxmlformats.org/officeDocument/2006/relationships/slideLayout" Target="../slideLayouts/slideLayout7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8.emf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heme" Target="../theme/them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oleObject" Target="../embeddings/oleObject4.bin"/><Relationship Id="rId5" Type="http://schemas.openxmlformats.org/officeDocument/2006/relationships/tags" Target="../tags/tag5.xml"/><Relationship Id="rId4" Type="http://schemas.openxmlformats.org/officeDocument/2006/relationships/vmlDrawing" Target="../drawings/vmlDrawing4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vmlDrawing" Target="../drawings/vmlDrawing5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33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9.png"/><Relationship Id="rId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</a:t>
            </a:r>
            <a:r>
              <a:rPr lang="ru-RU" sz="900" dirty="0">
                <a:latin typeface="Montserrat" pitchFamily="2" charset="77"/>
              </a:rPr>
              <a:t>3</a:t>
            </a:r>
            <a:r>
              <a:rPr lang="en-RU" sz="900" dirty="0">
                <a:latin typeface="Montserrat" pitchFamily="2" charset="77"/>
              </a:rPr>
              <a:t> ООО «АксТим»	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3BC837-590D-2588-36EF-7DB79B0A40D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142" y="243315"/>
            <a:ext cx="2019300" cy="11303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F0C63F-73F1-9FBA-7440-C8BC1DDBA5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12" r="6566"/>
          <a:stretch/>
        </p:blipFill>
        <p:spPr>
          <a:xfrm>
            <a:off x="7450518" y="0"/>
            <a:ext cx="4741482" cy="6602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291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</p:sldLayoutIdLst>
  <p:hf hdr="0" dt="0"/>
  <p:txStyles>
    <p:titleStyle>
      <a:lvl1pPr marL="0" indent="0" algn="l" defTabSz="914377" rtl="0" eaLnBrk="1" latinLnBrk="0" hangingPunct="1">
        <a:lnSpc>
          <a:spcPts val="5000"/>
        </a:lnSpc>
        <a:spcBef>
          <a:spcPct val="0"/>
        </a:spcBef>
        <a:buNone/>
        <a:defRPr sz="5000" b="1" i="0" kern="1200" cap="none" baseline="0">
          <a:solidFill>
            <a:schemeClr val="bg1"/>
          </a:solidFill>
          <a:latin typeface="Montserrat SemiBold" pitchFamily="2" charset="77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Montserrat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B5456A1-5AD5-1C3B-784F-E5DB1A617811}"/>
              </a:ext>
            </a:extLst>
          </p:cNvPr>
          <p:cNvSpPr/>
          <p:nvPr userDrawn="1"/>
        </p:nvSpPr>
        <p:spPr>
          <a:xfrm>
            <a:off x="0" y="-100809"/>
            <a:ext cx="12192000" cy="6958809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5244621-BE37-66F7-AE71-04D88A8F6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19741" y="-100810"/>
            <a:ext cx="7777207" cy="6958809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0799367B-6583-A8C4-AABC-4EB4B1EEDA9D}"/>
              </a:ext>
            </a:extLst>
          </p:cNvPr>
          <p:cNvSpPr txBox="1">
            <a:spLocks/>
          </p:cNvSpPr>
          <p:nvPr userDrawn="1"/>
        </p:nvSpPr>
        <p:spPr>
          <a:xfrm>
            <a:off x="5992989" y="6212323"/>
            <a:ext cx="7056261" cy="405647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00"/>
              </a:lnSpc>
            </a:pPr>
            <a:r>
              <a:rPr lang="ru-RU" sz="2400" cap="none" dirty="0">
                <a:solidFill>
                  <a:srgbClr val="FFFFFF"/>
                </a:solidFill>
                <a:latin typeface="Montserrat" pitchFamily="2" charset="77"/>
                <a:cs typeface="Arial" panose="020B0604020202020204" pitchFamily="34" charset="0"/>
              </a:rPr>
              <a:t>Технологии. Стратегии. Консалтинг.</a:t>
            </a: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" name="think-cell Folie" r:id="rId6" imgW="425" imgH="426" progId="TCLayout.ActiveDocument.1">
                  <p:embed/>
                </p:oleObj>
              </mc:Choice>
              <mc:Fallback>
                <p:oleObj name="think-cell Folie" r:id="rId6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</a:t>
            </a:r>
            <a:r>
              <a:rPr lang="ru-RU" sz="900" dirty="0">
                <a:latin typeface="Montserrat" pitchFamily="2" charset="77"/>
              </a:rPr>
              <a:t>3</a:t>
            </a:r>
            <a:r>
              <a:rPr lang="en-RU" sz="900" dirty="0">
                <a:latin typeface="Montserrat" pitchFamily="2" charset="77"/>
              </a:rPr>
              <a:t> ООО «АксТим»	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9663FD6-8FD6-4311-3031-623D5EE6632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22759" y="400849"/>
            <a:ext cx="3148445" cy="1784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758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Montserrat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6312FF9-00DA-4464-A51E-F82D2D543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39553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" name="think-cell Slide" r:id="rId6" imgW="475" imgH="476" progId="TCLayout.ActiveDocument.1">
                  <p:embed/>
                </p:oleObj>
              </mc:Choice>
              <mc:Fallback>
                <p:oleObj name="think-cell Slide" r:id="rId6" imgW="475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6312FF9-00DA-4464-A51E-F82D2D543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BC1EDE4-C802-4560-889B-35F06B1E6F2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Montserrat" panose="020B0503030202060203" pitchFamily="34" charset="0"/>
              <a:ea typeface="+mj-ea"/>
              <a:cs typeface="+mj-cs"/>
              <a:sym typeface="Montserrat" panose="020B0503030202060203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34CD17C-3ACE-4AE0-A6C5-F90D44EA72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943099"/>
            <a:ext cx="11430000" cy="42338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94098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600" b="1" kern="1200" cap="none" baseline="0">
          <a:solidFill>
            <a:schemeClr val="tx1"/>
          </a:solidFill>
          <a:latin typeface="Montserrat" pitchFamily="2" charset="77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Montserrat" pitchFamily="2" charset="77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None/>
        <a:defRPr sz="2200" kern="1200">
          <a:solidFill>
            <a:schemeClr val="tx1"/>
          </a:solidFill>
          <a:latin typeface="Montserrat" pitchFamily="2" charset="77"/>
          <a:ea typeface="+mn-ea"/>
          <a:cs typeface="+mn-cs"/>
        </a:defRPr>
      </a:lvl2pPr>
      <a:lvl3pPr marL="180975" indent="-180975" algn="l" defTabSz="914377" rtl="0" eaLnBrk="1" latinLnBrk="0" hangingPunct="1">
        <a:lnSpc>
          <a:spcPct val="9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ontserrat" pitchFamily="2" charset="77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Montserrat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5640">
          <p15:clr>
            <a:srgbClr val="F26B43"/>
          </p15:clr>
        </p15:guide>
        <p15:guide id="4">
          <p15:clr>
            <a:srgbClr val="F26B43"/>
          </p15:clr>
        </p15:guide>
        <p15:guide id="5" orient="horz" pos="240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5" orient="horz" pos="2232">
          <p15:clr>
            <a:srgbClr val="F26B43"/>
          </p15:clr>
        </p15:guide>
        <p15:guide id="16" orient="horz" pos="32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88DA18F-CC7A-8B02-8558-400CADA11C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400" y="225778"/>
            <a:ext cx="11785600" cy="11938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8C8C97C-D7FF-2F6E-5F48-D8445417BBE1}"/>
              </a:ext>
            </a:extLst>
          </p:cNvPr>
          <p:cNvSpPr txBox="1">
            <a:spLocks/>
          </p:cNvSpPr>
          <p:nvPr userDrawn="1"/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4D23657-19EB-F054-775B-FB0EDBB4E41F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</a:t>
            </a:r>
            <a:r>
              <a:rPr lang="ru-RU" sz="900" dirty="0">
                <a:latin typeface="Montserrat" pitchFamily="2" charset="77"/>
              </a:rPr>
              <a:t>3</a:t>
            </a:r>
            <a:r>
              <a:rPr lang="en-RU" sz="900" dirty="0">
                <a:latin typeface="Montserrat" pitchFamily="2" charset="77"/>
              </a:rPr>
              <a:t> ООО «АксТим»	 </a:t>
            </a:r>
          </a:p>
        </p:txBody>
      </p:sp>
    </p:spTree>
    <p:extLst>
      <p:ext uri="{BB962C8B-B14F-4D97-AF65-F5344CB8AC3E}">
        <p14:creationId xmlns:p14="http://schemas.microsoft.com/office/powerpoint/2010/main" val="823801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02" r:id="rId2"/>
    <p:sldLayoutId id="2147483803" r:id="rId3"/>
    <p:sldLayoutId id="2147483798" r:id="rId4"/>
    <p:sldLayoutId id="2147483784" r:id="rId5"/>
    <p:sldLayoutId id="2147483775" r:id="rId6"/>
    <p:sldLayoutId id="2147483776" r:id="rId7"/>
    <p:sldLayoutId id="2147483778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Montserrat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8C8C97C-D7FF-2F6E-5F48-D8445417BBE1}"/>
              </a:ext>
            </a:extLst>
          </p:cNvPr>
          <p:cNvSpPr txBox="1">
            <a:spLocks/>
          </p:cNvSpPr>
          <p:nvPr userDrawn="1"/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F13DAB9-4462-1E5D-5127-FE3240158E35}"/>
              </a:ext>
            </a:extLst>
          </p:cNvPr>
          <p:cNvGrpSpPr/>
          <p:nvPr userDrawn="1"/>
        </p:nvGrpSpPr>
        <p:grpSpPr>
          <a:xfrm>
            <a:off x="395111" y="191912"/>
            <a:ext cx="11796889" cy="783493"/>
            <a:chOff x="395111" y="191912"/>
            <a:chExt cx="11796889" cy="78349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937C862-AEC0-F4A9-4822-431E7FB5028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5111" y="191912"/>
              <a:ext cx="6855012" cy="69436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F9B0FA9-A14E-EBF9-33D2-41E584FF140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3480" r="1884" b="-12608"/>
            <a:stretch/>
          </p:blipFill>
          <p:spPr>
            <a:xfrm>
              <a:off x="7236804" y="193502"/>
              <a:ext cx="4955196" cy="781903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44D23657-19EB-F054-775B-FB0EDBB4E41F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</a:t>
            </a:r>
            <a:r>
              <a:rPr lang="ru-RU" sz="900" dirty="0">
                <a:latin typeface="Montserrat" pitchFamily="2" charset="77"/>
              </a:rPr>
              <a:t>3</a:t>
            </a:r>
            <a:r>
              <a:rPr lang="en-RU" sz="900" dirty="0">
                <a:latin typeface="Montserrat" pitchFamily="2" charset="77"/>
              </a:rPr>
              <a:t> ООО «АксТим»	 </a:t>
            </a:r>
          </a:p>
        </p:txBody>
      </p:sp>
    </p:spTree>
    <p:extLst>
      <p:ext uri="{BB962C8B-B14F-4D97-AF65-F5344CB8AC3E}">
        <p14:creationId xmlns:p14="http://schemas.microsoft.com/office/powerpoint/2010/main" val="3508882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804" r:id="rId2"/>
    <p:sldLayoutId id="2147483805" r:id="rId3"/>
    <p:sldLayoutId id="2147483799" r:id="rId4"/>
    <p:sldLayoutId id="2147483785" r:id="rId5"/>
    <p:sldLayoutId id="2147483781" r:id="rId6"/>
    <p:sldLayoutId id="2147483782" r:id="rId7"/>
    <p:sldLayoutId id="2147483783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1" i="0" kern="1200">
          <a:solidFill>
            <a:schemeClr val="tx1"/>
          </a:solidFill>
          <a:latin typeface="Montserrat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1294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" name="think-cell Folie" r:id="rId6" imgW="425" imgH="426" progId="TCLayout.ActiveDocument.1">
                  <p:embed/>
                </p:oleObj>
              </mc:Choice>
              <mc:Fallback>
                <p:oleObj name="think-cell Folie" r:id="rId6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D952B5C-36AC-4DB1-A39D-558F248A9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265" y="3504028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Headline place here (32p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2 ООО «АксТим»	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E583BD-E741-CAD2-BA5D-84E5AA606C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F965B8-1BBF-CE3A-26B2-05E622B6DE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12" r="6566"/>
          <a:stretch/>
        </p:blipFill>
        <p:spPr>
          <a:xfrm>
            <a:off x="7264400" y="0"/>
            <a:ext cx="4927600" cy="686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098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96" r:id="rId2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Montserrat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BFD8D3-EB97-6E49-946B-AA2CD2FB12AC}"/>
              </a:ext>
            </a:extLst>
          </p:cNvPr>
          <p:cNvSpPr/>
          <p:nvPr userDrawn="1"/>
        </p:nvSpPr>
        <p:spPr>
          <a:xfrm>
            <a:off x="0" y="-100809"/>
            <a:ext cx="12192000" cy="6958809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17B032-7A73-0ABE-542B-071951933C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14793" y="-100809"/>
            <a:ext cx="7777207" cy="6958809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0" name="think-cell Folie" r:id="rId6" imgW="425" imgH="426" progId="TCLayout.ActiveDocument.1">
                  <p:embed/>
                </p:oleObj>
              </mc:Choice>
              <mc:Fallback>
                <p:oleObj name="think-cell Folie" r:id="rId6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</a:t>
            </a:r>
            <a:r>
              <a:rPr lang="ru-RU" sz="900" dirty="0">
                <a:latin typeface="Montserrat" pitchFamily="2" charset="77"/>
              </a:rPr>
              <a:t>3</a:t>
            </a:r>
            <a:r>
              <a:rPr lang="en-RU" sz="900" dirty="0">
                <a:latin typeface="Montserrat" pitchFamily="2" charset="77"/>
              </a:rPr>
              <a:t> ООО «АксТим»	 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E1F316D2-FC5D-7E5C-7937-C55AD9510B23}"/>
              </a:ext>
            </a:extLst>
          </p:cNvPr>
          <p:cNvSpPr txBox="1">
            <a:spLocks/>
          </p:cNvSpPr>
          <p:nvPr userDrawn="1"/>
        </p:nvSpPr>
        <p:spPr>
          <a:xfrm>
            <a:off x="522311" y="3364795"/>
            <a:ext cx="4196445" cy="1026582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6000" b="1" i="0" cap="none" dirty="0">
                <a:solidFill>
                  <a:srgbClr val="FFFFFF"/>
                </a:solidFill>
                <a:latin typeface="Montserrat" pitchFamily="2" charset="77"/>
                <a:cs typeface="Arial" panose="020B0604020202020204" pitchFamily="34" charset="0"/>
              </a:rPr>
              <a:t>C</a:t>
            </a:r>
            <a:r>
              <a:rPr lang="ru-RU" sz="6000" b="1" i="0" cap="none" dirty="0" err="1">
                <a:solidFill>
                  <a:srgbClr val="FFFFFF"/>
                </a:solidFill>
                <a:latin typeface="Montserrat" pitchFamily="2" charset="77"/>
                <a:cs typeface="Arial" panose="020B0604020202020204" pitchFamily="34" charset="0"/>
              </a:rPr>
              <a:t>пасибо</a:t>
            </a:r>
            <a:r>
              <a:rPr lang="ru-RU" sz="6000" b="1" i="0" cap="none" dirty="0">
                <a:solidFill>
                  <a:srgbClr val="FFFFFF"/>
                </a:solidFill>
                <a:latin typeface="Montserrat" pitchFamily="2" charset="77"/>
                <a:cs typeface="Arial" panose="020B0604020202020204" pitchFamily="34" charset="0"/>
              </a:rPr>
              <a:t>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0C4C146-CDFF-455B-E13E-CF209B4AC00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22759" y="400849"/>
            <a:ext cx="3148445" cy="1784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99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Montserrat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7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8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microsoft.com/office/2007/relationships/hdphoto" Target="../media/hdphoto4.wdp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microsoft.com/office/2007/relationships/hdphoto" Target="../media/hdphoto5.wdp"/><Relationship Id="rId7" Type="http://schemas.openxmlformats.org/officeDocument/2006/relationships/image" Target="../media/image15.sv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4.png"/><Relationship Id="rId5" Type="http://schemas.microsoft.com/office/2007/relationships/hdphoto" Target="../media/hdphoto4.wdp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5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6.xml"/><Relationship Id="rId6" Type="http://schemas.microsoft.com/office/2007/relationships/hdphoto" Target="../media/hdphoto1.wdp"/><Relationship Id="rId5" Type="http://schemas.openxmlformats.org/officeDocument/2006/relationships/image" Target="../media/image16.png"/><Relationship Id="rId4" Type="http://schemas.openxmlformats.org/officeDocument/2006/relationships/image" Target="../media/image13.gi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18" Type="http://schemas.openxmlformats.org/officeDocument/2006/relationships/image" Target="../media/image31.png"/><Relationship Id="rId3" Type="http://schemas.openxmlformats.org/officeDocument/2006/relationships/image" Target="../media/image18.svg"/><Relationship Id="rId21" Type="http://schemas.openxmlformats.org/officeDocument/2006/relationships/image" Target="../media/image34.svg"/><Relationship Id="rId7" Type="http://schemas.openxmlformats.org/officeDocument/2006/relationships/image" Target="../media/image20.svg"/><Relationship Id="rId12" Type="http://schemas.openxmlformats.org/officeDocument/2006/relationships/image" Target="../media/image25.png"/><Relationship Id="rId17" Type="http://schemas.openxmlformats.org/officeDocument/2006/relationships/image" Target="../media/image30.svg"/><Relationship Id="rId2" Type="http://schemas.openxmlformats.org/officeDocument/2006/relationships/image" Target="../media/image17.png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24" Type="http://schemas.openxmlformats.org/officeDocument/2006/relationships/image" Target="../media/image37.svg"/><Relationship Id="rId5" Type="http://schemas.openxmlformats.org/officeDocument/2006/relationships/image" Target="../media/image15.svg"/><Relationship Id="rId15" Type="http://schemas.openxmlformats.org/officeDocument/2006/relationships/image" Target="../media/image28.svg"/><Relationship Id="rId23" Type="http://schemas.openxmlformats.org/officeDocument/2006/relationships/image" Target="../media/image36.png"/><Relationship Id="rId10" Type="http://schemas.openxmlformats.org/officeDocument/2006/relationships/image" Target="../media/image23.png"/><Relationship Id="rId19" Type="http://schemas.openxmlformats.org/officeDocument/2006/relationships/image" Target="../media/image32.svg"/><Relationship Id="rId4" Type="http://schemas.openxmlformats.org/officeDocument/2006/relationships/image" Target="../media/image14.png"/><Relationship Id="rId9" Type="http://schemas.openxmlformats.org/officeDocument/2006/relationships/image" Target="../media/image22.svg"/><Relationship Id="rId14" Type="http://schemas.openxmlformats.org/officeDocument/2006/relationships/image" Target="../media/image27.png"/><Relationship Id="rId22" Type="http://schemas.openxmlformats.org/officeDocument/2006/relationships/image" Target="../media/image35.gi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gif"/><Relationship Id="rId3" Type="http://schemas.microsoft.com/office/2007/relationships/hdphoto" Target="../media/hdphoto2.wdp"/><Relationship Id="rId7" Type="http://schemas.openxmlformats.org/officeDocument/2006/relationships/image" Target="../media/image15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4.png"/><Relationship Id="rId5" Type="http://schemas.microsoft.com/office/2007/relationships/hdphoto" Target="../media/hdphoto3.wdp"/><Relationship Id="rId4" Type="http://schemas.openxmlformats.org/officeDocument/2006/relationships/image" Target="../media/image3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microsoft.com/office/2007/relationships/hdphoto" Target="../media/hdphoto4.wdp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6.xml"/><Relationship Id="rId6" Type="http://schemas.openxmlformats.org/officeDocument/2006/relationships/hyperlink" Target="https://developer.mozilla.org/ru/docs/Web/API/KeyboardEvent" TargetMode="Externa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5.sv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4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1A54B898-14EE-478B-BB23-432711DCDCDE}"/>
              </a:ext>
            </a:extLst>
          </p:cNvPr>
          <p:cNvGrpSpPr/>
          <p:nvPr/>
        </p:nvGrpSpPr>
        <p:grpSpPr>
          <a:xfrm>
            <a:off x="1" y="0"/>
            <a:ext cx="12203992" cy="6858000"/>
            <a:chOff x="1" y="0"/>
            <a:chExt cx="12203992" cy="68580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E44AA70-C442-470E-96BA-10AB300116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46043" y="0"/>
              <a:ext cx="9657950" cy="68580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27BA240-7102-4B3B-8EC6-62E221B3E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" y="0"/>
              <a:ext cx="4077478" cy="6858000"/>
            </a:xfrm>
            <a:prstGeom prst="rect">
              <a:avLst/>
            </a:prstGeom>
          </p:spPr>
        </p:pic>
      </p:grpSp>
      <p:sp>
        <p:nvSpPr>
          <p:cNvPr id="31" name="Oval 30">
            <a:extLst>
              <a:ext uri="{FF2B5EF4-FFF2-40B4-BE49-F238E27FC236}">
                <a16:creationId xmlns:a16="http://schemas.microsoft.com/office/drawing/2014/main" id="{92D7761E-40B5-460E-9017-A1DDA0A6B08D}"/>
              </a:ext>
            </a:extLst>
          </p:cNvPr>
          <p:cNvSpPr/>
          <p:nvPr/>
        </p:nvSpPr>
        <p:spPr>
          <a:xfrm>
            <a:off x="2412182" y="89085"/>
            <a:ext cx="4665274" cy="4665274"/>
          </a:xfrm>
          <a:prstGeom prst="ellipse">
            <a:avLst/>
          </a:prstGeom>
          <a:gradFill flip="none" rotWithShape="1">
            <a:gsLst>
              <a:gs pos="34000">
                <a:schemeClr val="tx1"/>
              </a:gs>
              <a:gs pos="64000">
                <a:schemeClr val="tx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EAA80E91-42A2-461E-96A7-8B352E186AA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4114" y="1321017"/>
            <a:ext cx="2201410" cy="220141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F91656D-6294-4776-A26B-E8137267BDF2}"/>
              </a:ext>
            </a:extLst>
          </p:cNvPr>
          <p:cNvSpPr/>
          <p:nvPr/>
        </p:nvSpPr>
        <p:spPr>
          <a:xfrm>
            <a:off x="1" y="0"/>
            <a:ext cx="12191998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9000">
                <a:schemeClr val="tx1">
                  <a:alpha val="63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DFACC7-624A-496C-A9DE-0612F8F00AE3}"/>
              </a:ext>
            </a:extLst>
          </p:cNvPr>
          <p:cNvSpPr/>
          <p:nvPr/>
        </p:nvSpPr>
        <p:spPr>
          <a:xfrm>
            <a:off x="11995" y="0"/>
            <a:ext cx="12191998" cy="6858000"/>
          </a:xfrm>
          <a:prstGeom prst="rect">
            <a:avLst/>
          </a:prstGeom>
          <a:gradFill flip="none" rotWithShape="1">
            <a:gsLst>
              <a:gs pos="0">
                <a:srgbClr val="9000FF">
                  <a:alpha val="54000"/>
                </a:srgbClr>
              </a:gs>
              <a:gs pos="89000">
                <a:schemeClr val="tx1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Прямоугольник: скругленные углы 28">
            <a:extLst>
              <a:ext uri="{FF2B5EF4-FFF2-40B4-BE49-F238E27FC236}">
                <a16:creationId xmlns:a16="http://schemas.microsoft.com/office/drawing/2014/main" id="{6BB0A204-FD65-4CDD-BBE8-2DDECE94239D}"/>
              </a:ext>
            </a:extLst>
          </p:cNvPr>
          <p:cNvSpPr/>
          <p:nvPr/>
        </p:nvSpPr>
        <p:spPr>
          <a:xfrm>
            <a:off x="-1637166" y="1066800"/>
            <a:ext cx="6414434" cy="6552190"/>
          </a:xfrm>
          <a:prstGeom prst="roundRect">
            <a:avLst>
              <a:gd name="adj" fmla="val 31759"/>
            </a:avLst>
          </a:prstGeom>
          <a:solidFill>
            <a:srgbClr val="9000FF">
              <a:alpha val="5000"/>
            </a:srgbClr>
          </a:solidFill>
          <a:ln w="76200">
            <a:noFill/>
          </a:ln>
          <a:effectLst>
            <a:glow>
              <a:srgbClr val="9000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000" dirty="0">
              <a:latin typeface="Montserrat SemiBold" panose="020B0604020202020204" charset="-52"/>
            </a:endParaRPr>
          </a:p>
        </p:txBody>
      </p:sp>
      <p:sp>
        <p:nvSpPr>
          <p:cNvPr id="11" name="Прямоугольник: скругленные углы 28">
            <a:extLst>
              <a:ext uri="{FF2B5EF4-FFF2-40B4-BE49-F238E27FC236}">
                <a16:creationId xmlns:a16="http://schemas.microsoft.com/office/drawing/2014/main" id="{F8F43D08-C68B-4E62-8884-3394594ABFF6}"/>
              </a:ext>
            </a:extLst>
          </p:cNvPr>
          <p:cNvSpPr/>
          <p:nvPr/>
        </p:nvSpPr>
        <p:spPr>
          <a:xfrm>
            <a:off x="756537" y="3571026"/>
            <a:ext cx="1565994" cy="1599624"/>
          </a:xfrm>
          <a:prstGeom prst="roundRect">
            <a:avLst>
              <a:gd name="adj" fmla="val 35165"/>
            </a:avLst>
          </a:prstGeom>
          <a:solidFill>
            <a:srgbClr val="9000FF">
              <a:alpha val="5000"/>
            </a:srgbClr>
          </a:solidFill>
          <a:ln w="76200">
            <a:noFill/>
          </a:ln>
          <a:effectLst>
            <a:glow>
              <a:srgbClr val="9000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000" dirty="0">
              <a:latin typeface="Montserrat SemiBold" panose="020B0604020202020204" charset="-52"/>
            </a:endParaRPr>
          </a:p>
        </p:txBody>
      </p:sp>
      <p:sp>
        <p:nvSpPr>
          <p:cNvPr id="12" name="Прямоугольник: скругленные углы 28">
            <a:extLst>
              <a:ext uri="{FF2B5EF4-FFF2-40B4-BE49-F238E27FC236}">
                <a16:creationId xmlns:a16="http://schemas.microsoft.com/office/drawing/2014/main" id="{3B507A8A-B7A7-451B-A7BC-FC25CDD0027C}"/>
              </a:ext>
            </a:extLst>
          </p:cNvPr>
          <p:cNvSpPr/>
          <p:nvPr/>
        </p:nvSpPr>
        <p:spPr>
          <a:xfrm>
            <a:off x="980049" y="3799338"/>
            <a:ext cx="1118962" cy="1143002"/>
          </a:xfrm>
          <a:prstGeom prst="roundRect">
            <a:avLst>
              <a:gd name="adj" fmla="val 40913"/>
            </a:avLst>
          </a:prstGeom>
          <a:solidFill>
            <a:srgbClr val="9000FF">
              <a:alpha val="5000"/>
            </a:srgbClr>
          </a:solidFill>
          <a:ln w="76200">
            <a:noFill/>
          </a:ln>
          <a:effectLst>
            <a:glow>
              <a:srgbClr val="9000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000" dirty="0">
              <a:latin typeface="Montserrat SemiBold" panose="020B0604020202020204" charset="-52"/>
            </a:endParaRPr>
          </a:p>
        </p:txBody>
      </p:sp>
      <p:sp>
        <p:nvSpPr>
          <p:cNvPr id="18" name="Прямоугольник: скругленные углы 28">
            <a:extLst>
              <a:ext uri="{FF2B5EF4-FFF2-40B4-BE49-F238E27FC236}">
                <a16:creationId xmlns:a16="http://schemas.microsoft.com/office/drawing/2014/main" id="{915168B2-B1C1-40B4-B7A6-D751CF343C17}"/>
              </a:ext>
            </a:extLst>
          </p:cNvPr>
          <p:cNvSpPr/>
          <p:nvPr/>
        </p:nvSpPr>
        <p:spPr>
          <a:xfrm>
            <a:off x="402185" y="3195758"/>
            <a:ext cx="2289916" cy="2339094"/>
          </a:xfrm>
          <a:prstGeom prst="roundRect">
            <a:avLst>
              <a:gd name="adj" fmla="val 36261"/>
            </a:avLst>
          </a:prstGeom>
          <a:solidFill>
            <a:srgbClr val="9000FF">
              <a:alpha val="5000"/>
            </a:srgbClr>
          </a:solidFill>
          <a:ln w="76200">
            <a:noFill/>
          </a:ln>
          <a:effectLst>
            <a:glow>
              <a:srgbClr val="9000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000" dirty="0">
              <a:latin typeface="Montserrat SemiBold" panose="020B0604020202020204" charset="-52"/>
            </a:endParaRPr>
          </a:p>
        </p:txBody>
      </p:sp>
      <p:sp>
        <p:nvSpPr>
          <p:cNvPr id="20" name="Прямоугольник: скругленные углы 28">
            <a:extLst>
              <a:ext uri="{FF2B5EF4-FFF2-40B4-BE49-F238E27FC236}">
                <a16:creationId xmlns:a16="http://schemas.microsoft.com/office/drawing/2014/main" id="{9C4C9CD8-585D-4040-A70D-74AE9825C79C}"/>
              </a:ext>
            </a:extLst>
          </p:cNvPr>
          <p:cNvSpPr/>
          <p:nvPr/>
        </p:nvSpPr>
        <p:spPr>
          <a:xfrm>
            <a:off x="-335685" y="2442042"/>
            <a:ext cx="3765656" cy="3846526"/>
          </a:xfrm>
          <a:prstGeom prst="roundRect">
            <a:avLst>
              <a:gd name="adj" fmla="val 31669"/>
            </a:avLst>
          </a:prstGeom>
          <a:solidFill>
            <a:srgbClr val="9000FF">
              <a:alpha val="5000"/>
            </a:srgbClr>
          </a:solidFill>
          <a:ln w="76200">
            <a:noFill/>
          </a:ln>
          <a:effectLst>
            <a:glow>
              <a:srgbClr val="9000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000" dirty="0">
              <a:latin typeface="Montserrat SemiBold" panose="020B0604020202020204" charset="-52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65328B0-7402-4B90-8887-2EBE4F1835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2409" y="591842"/>
            <a:ext cx="966602" cy="535083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A5F13127-BB82-4CF9-9132-B2A8FDDFABFD}"/>
              </a:ext>
            </a:extLst>
          </p:cNvPr>
          <p:cNvSpPr txBox="1"/>
          <p:nvPr/>
        </p:nvSpPr>
        <p:spPr>
          <a:xfrm>
            <a:off x="2111005" y="4066505"/>
            <a:ext cx="2517036" cy="5555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200" dirty="0">
                <a:solidFill>
                  <a:schemeClr val="bg1"/>
                </a:solidFill>
                <a:latin typeface="Manrope ExtraBold" pitchFamily="2" charset="0"/>
                <a:ea typeface="Inter SemiBold" panose="02000503000000020004" pitchFamily="2" charset="0"/>
                <a:cs typeface="Arial" panose="020B0604020202020204" pitchFamily="34" charset="0"/>
              </a:rPr>
              <a:t>Екатерина Акимова</a:t>
            </a:r>
            <a:br>
              <a:rPr lang="ru-RU" sz="1200" b="1" dirty="0">
                <a:solidFill>
                  <a:schemeClr val="bg1"/>
                </a:solidFill>
                <a:latin typeface="Manrope" pitchFamily="2" charset="0"/>
                <a:ea typeface="Inter Medium" panose="02000503000000020004" pitchFamily="2" charset="0"/>
                <a:cs typeface="Arial" panose="020B0604020202020204" pitchFamily="34" charset="0"/>
              </a:rPr>
            </a:br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Manrope" pitchFamily="2" charset="0"/>
                <a:ea typeface="Inter" panose="02000503000000020004" pitchFamily="2" charset="0"/>
                <a:cs typeface="Arial" panose="020B0604020202020204" pitchFamily="34" charset="0"/>
              </a:rPr>
              <a:t>Руководитель направления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Manrope" pitchFamily="2" charset="0"/>
                <a:ea typeface="Inter" panose="02000503000000020004" pitchFamily="2" charset="0"/>
                <a:cs typeface="Arial" panose="020B0604020202020204" pitchFamily="34" charset="0"/>
              </a:rPr>
              <a:t>FE </a:t>
            </a:r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Manrope" pitchFamily="2" charset="0"/>
                <a:ea typeface="Inter" panose="02000503000000020004" pitchFamily="2" charset="0"/>
                <a:cs typeface="Arial" panose="020B0604020202020204" pitchFamily="34" charset="0"/>
              </a:rPr>
              <a:t>разработки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Manrope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28">
            <a:extLst>
              <a:ext uri="{FF2B5EF4-FFF2-40B4-BE49-F238E27FC236}">
                <a16:creationId xmlns:a16="http://schemas.microsoft.com/office/drawing/2014/main" id="{C501522E-691D-4A53-89CF-0129D851D936}"/>
              </a:ext>
            </a:extLst>
          </p:cNvPr>
          <p:cNvSpPr/>
          <p:nvPr/>
        </p:nvSpPr>
        <p:spPr>
          <a:xfrm>
            <a:off x="1126113" y="3948533"/>
            <a:ext cx="826848" cy="844610"/>
          </a:xfrm>
          <a:prstGeom prst="roundRect">
            <a:avLst>
              <a:gd name="adj" fmla="val 37008"/>
            </a:avLst>
          </a:prstGeom>
          <a:blipFill>
            <a:blip r:embed="rId7" cstate="email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760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76200">
            <a:noFill/>
          </a:ln>
          <a:effectLst>
            <a:glow>
              <a:srgbClr val="9000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000" dirty="0">
              <a:latin typeface="Montserrat SemiBold" panose="020B0604020202020204" charset="-52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FE48339-D53E-4B7A-B6C8-C918548DE301}"/>
              </a:ext>
            </a:extLst>
          </p:cNvPr>
          <p:cNvGrpSpPr/>
          <p:nvPr/>
        </p:nvGrpSpPr>
        <p:grpSpPr>
          <a:xfrm>
            <a:off x="883920" y="1207199"/>
            <a:ext cx="7899025" cy="1958118"/>
            <a:chOff x="883920" y="1207199"/>
            <a:chExt cx="7899025" cy="1958118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A2C02C1-5FF6-41DD-9EF9-D65EABF29132}"/>
                </a:ext>
              </a:extLst>
            </p:cNvPr>
            <p:cNvSpPr txBox="1"/>
            <p:nvPr/>
          </p:nvSpPr>
          <p:spPr>
            <a:xfrm>
              <a:off x="883920" y="1718767"/>
              <a:ext cx="7899025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800" b="1" u="sng" spc="800" dirty="0">
                  <a:gradFill flip="none" rotWithShape="1">
                    <a:gsLst>
                      <a:gs pos="21000">
                        <a:schemeClr val="accent1"/>
                      </a:gs>
                      <a:gs pos="79000">
                        <a:srgbClr val="FF0000"/>
                      </a:gs>
                    </a:gsLst>
                    <a:lin ang="2700000" scaled="1"/>
                    <a:tileRect/>
                  </a:gradFill>
                  <a:latin typeface="Manrope ExtraBold" pitchFamily="2" charset="0"/>
                  <a:ea typeface="Inter Black" panose="02000503000000020004" pitchFamily="2" charset="0"/>
                  <a:cs typeface="Arial" panose="020B0604020202020204" pitchFamily="34" charset="0"/>
                </a:rPr>
                <a:t>JS</a:t>
              </a:r>
              <a:r>
                <a:rPr lang="en-US" sz="8800" b="1" spc="800" dirty="0">
                  <a:solidFill>
                    <a:srgbClr val="9000FF"/>
                  </a:solidFill>
                  <a:latin typeface="Manrope ExtraBold" pitchFamily="2" charset="0"/>
                  <a:ea typeface="Inter Black" panose="02000503000000020004" pitchFamily="2" charset="0"/>
                  <a:cs typeface="Arial" panose="020B0604020202020204" pitchFamily="34" charset="0"/>
                </a:rPr>
                <a:t>&amp;</a:t>
              </a:r>
              <a:r>
                <a:rPr lang="en-US" sz="8800" b="1" spc="800" dirty="0">
                  <a:gradFill flip="none" rotWithShape="1">
                    <a:gsLst>
                      <a:gs pos="21000">
                        <a:schemeClr val="accent1"/>
                      </a:gs>
                      <a:gs pos="100000">
                        <a:srgbClr val="FF0000"/>
                      </a:gs>
                    </a:gsLst>
                    <a:lin ang="2700000" scaled="1"/>
                    <a:tileRect/>
                  </a:gradFill>
                  <a:latin typeface="Manrope ExtraBold" pitchFamily="2" charset="0"/>
                  <a:ea typeface="Inter Black" panose="02000503000000020004" pitchFamily="2" charset="0"/>
                  <a:cs typeface="Arial" panose="020B0604020202020204" pitchFamily="34" charset="0"/>
                </a:rPr>
                <a:t>D</a:t>
              </a:r>
              <a:r>
                <a:rPr lang="en-US" sz="7200" b="1" spc="800" dirty="0">
                  <a:gradFill flip="none" rotWithShape="1">
                    <a:gsLst>
                      <a:gs pos="21000">
                        <a:schemeClr val="accent1"/>
                      </a:gs>
                      <a:gs pos="100000">
                        <a:srgbClr val="FF0000"/>
                      </a:gs>
                    </a:gsLst>
                    <a:lin ang="2700000" scaled="1"/>
                    <a:tileRect/>
                  </a:gradFill>
                  <a:latin typeface="Manrope ExtraBold" pitchFamily="2" charset="0"/>
                  <a:ea typeface="Inter Black" panose="02000503000000020004" pitchFamily="2" charset="0"/>
                  <a:cs typeface="Arial" panose="020B0604020202020204" pitchFamily="34" charset="0"/>
                </a:rPr>
                <a:t>    </a:t>
              </a:r>
              <a:r>
                <a:rPr lang="en-US" sz="8800" b="1" spc="800" dirty="0">
                  <a:gradFill flip="none" rotWithShape="1">
                    <a:gsLst>
                      <a:gs pos="21000">
                        <a:schemeClr val="accent1"/>
                      </a:gs>
                      <a:gs pos="100000">
                        <a:srgbClr val="FF0000"/>
                      </a:gs>
                    </a:gsLst>
                    <a:lin ang="2700000" scaled="1"/>
                    <a:tileRect/>
                  </a:gradFill>
                  <a:latin typeface="Manrope ExtraBold" pitchFamily="2" charset="0"/>
                  <a:ea typeface="Inter Black" panose="02000503000000020004" pitchFamily="2" charset="0"/>
                  <a:cs typeface="Arial" panose="020B0604020202020204" pitchFamily="34" charset="0"/>
                </a:rPr>
                <a:t>M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F184CBB-D99F-4BFF-BBB3-E0A6F0249B0D}"/>
                </a:ext>
              </a:extLst>
            </p:cNvPr>
            <p:cNvSpPr txBox="1"/>
            <p:nvPr/>
          </p:nvSpPr>
          <p:spPr>
            <a:xfrm rot="16200000">
              <a:off x="4370987" y="1030067"/>
              <a:ext cx="753732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600" spc="600" dirty="0">
                  <a:gradFill flip="none" rotWithShape="1">
                    <a:gsLst>
                      <a:gs pos="21000">
                        <a:schemeClr val="accent1"/>
                      </a:gs>
                      <a:gs pos="100000">
                        <a:srgbClr val="FF0000"/>
                      </a:gs>
                    </a:gsLst>
                    <a:lin ang="2700000" scaled="1"/>
                    <a:tileRect/>
                  </a:gradFill>
                  <a:latin typeface="Manrope" pitchFamily="2" charset="0"/>
                  <a:ea typeface="Inter" panose="02000503000000020004" pitchFamily="2" charset="0"/>
                  <a:cs typeface="Arial" panose="020B0604020202020204" pitchFamily="34" charset="0"/>
                </a:rPr>
                <a:t>❱</a:t>
              </a: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703CACF-7B26-4B26-8C71-F904E89A564C}"/>
                </a:ext>
              </a:extLst>
            </p:cNvPr>
            <p:cNvSpPr/>
            <p:nvPr/>
          </p:nvSpPr>
          <p:spPr>
            <a:xfrm>
              <a:off x="4372538" y="2049441"/>
              <a:ext cx="744562" cy="744562"/>
            </a:xfrm>
            <a:prstGeom prst="ellipse">
              <a:avLst/>
            </a:prstGeom>
            <a:noFill/>
            <a:ln w="158750">
              <a:gradFill>
                <a:gsLst>
                  <a:gs pos="16000">
                    <a:schemeClr val="accent1"/>
                  </a:gs>
                  <a:gs pos="100000">
                    <a:srgbClr val="FF0000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40313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900" fill="hold"/>
                                        <p:tgtEl>
                                          <p:spTgt spid="2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5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750" fill="hold"/>
                                        <p:tgtEl>
                                          <p:spTgt spid="1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820" fill="hold"/>
                                        <p:tgtEl>
                                          <p:spTgt spid="2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11" grpId="0" animBg="1"/>
      <p:bldP spid="12" grpId="0" animBg="1"/>
      <p:bldP spid="18" grpId="0" animBg="1"/>
      <p:bldP spid="20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992F0E7E-8F0B-401A-8175-231E02C43919}"/>
              </a:ext>
            </a:extLst>
          </p:cNvPr>
          <p:cNvSpPr/>
          <p:nvPr/>
        </p:nvSpPr>
        <p:spPr>
          <a:xfrm rot="10800000">
            <a:off x="11995" y="0"/>
            <a:ext cx="12191998" cy="6858000"/>
          </a:xfrm>
          <a:prstGeom prst="rect">
            <a:avLst/>
          </a:prstGeom>
          <a:gradFill flip="none" rotWithShape="1">
            <a:gsLst>
              <a:gs pos="0">
                <a:srgbClr val="9000FF">
                  <a:alpha val="37000"/>
                </a:srgbClr>
              </a:gs>
              <a:gs pos="89000">
                <a:schemeClr val="tx1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337361C-010D-49D6-839D-7A159A6E60D6}"/>
              </a:ext>
            </a:extLst>
          </p:cNvPr>
          <p:cNvSpPr/>
          <p:nvPr/>
        </p:nvSpPr>
        <p:spPr>
          <a:xfrm>
            <a:off x="0" y="1"/>
            <a:ext cx="12191998" cy="6858000"/>
          </a:xfrm>
          <a:prstGeom prst="rect">
            <a:avLst/>
          </a:prstGeom>
          <a:gradFill flip="none" rotWithShape="1">
            <a:gsLst>
              <a:gs pos="0">
                <a:srgbClr val="F84114">
                  <a:alpha val="48000"/>
                </a:srgbClr>
              </a:gs>
              <a:gs pos="89000">
                <a:schemeClr val="tx1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2B5DFB1-8F38-43CD-B2CE-FA6D821AF095}"/>
              </a:ext>
            </a:extLst>
          </p:cNvPr>
          <p:cNvGrpSpPr/>
          <p:nvPr/>
        </p:nvGrpSpPr>
        <p:grpSpPr>
          <a:xfrm>
            <a:off x="6659952" y="1470694"/>
            <a:ext cx="10774608" cy="10774608"/>
            <a:chOff x="4855199" y="-788495"/>
            <a:chExt cx="9078526" cy="9078526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9406F82E-A487-43B0-A660-16DAADD7331A}"/>
                </a:ext>
              </a:extLst>
            </p:cNvPr>
            <p:cNvSpPr/>
            <p:nvPr/>
          </p:nvSpPr>
          <p:spPr>
            <a:xfrm>
              <a:off x="8861508" y="3187883"/>
              <a:ext cx="1125772" cy="1125772"/>
            </a:xfrm>
            <a:prstGeom prst="ellipse">
              <a:avLst/>
            </a:prstGeom>
            <a:noFill/>
            <a:ln w="3175">
              <a:solidFill>
                <a:schemeClr val="accent1">
                  <a:shade val="50000"/>
                  <a:alpha val="28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E6D4280-DD0B-4BC9-90BF-3DD5898257AC}"/>
                </a:ext>
              </a:extLst>
            </p:cNvPr>
            <p:cNvSpPr/>
            <p:nvPr/>
          </p:nvSpPr>
          <p:spPr>
            <a:xfrm>
              <a:off x="8351673" y="2678048"/>
              <a:ext cx="2145442" cy="2145442"/>
            </a:xfrm>
            <a:prstGeom prst="ellipse">
              <a:avLst/>
            </a:prstGeom>
            <a:noFill/>
            <a:ln w="3175">
              <a:solidFill>
                <a:schemeClr val="accent1">
                  <a:shade val="50000"/>
                  <a:alpha val="28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76DDC1B-D4EE-471F-8FE8-AA4DBF28C7DC}"/>
                </a:ext>
              </a:extLst>
            </p:cNvPr>
            <p:cNvSpPr/>
            <p:nvPr/>
          </p:nvSpPr>
          <p:spPr>
            <a:xfrm>
              <a:off x="7455083" y="1781458"/>
              <a:ext cx="3938622" cy="3938622"/>
            </a:xfrm>
            <a:prstGeom prst="ellipse">
              <a:avLst/>
            </a:prstGeom>
            <a:noFill/>
            <a:ln w="3175">
              <a:solidFill>
                <a:schemeClr val="accent1">
                  <a:shade val="50000"/>
                  <a:alpha val="28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E66AA78-B24C-4CCA-AE8D-870C30BD14B3}"/>
                </a:ext>
              </a:extLst>
            </p:cNvPr>
            <p:cNvSpPr/>
            <p:nvPr/>
          </p:nvSpPr>
          <p:spPr>
            <a:xfrm>
              <a:off x="6030538" y="344918"/>
              <a:ext cx="6811702" cy="6811702"/>
            </a:xfrm>
            <a:prstGeom prst="ellipse">
              <a:avLst/>
            </a:prstGeom>
            <a:noFill/>
            <a:ln w="3175">
              <a:solidFill>
                <a:schemeClr val="accent1">
                  <a:shade val="50000"/>
                  <a:alpha val="28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91501A2-A20A-41AB-B8BD-F9DF1E788994}"/>
                </a:ext>
              </a:extLst>
            </p:cNvPr>
            <p:cNvSpPr/>
            <p:nvPr/>
          </p:nvSpPr>
          <p:spPr>
            <a:xfrm>
              <a:off x="4855199" y="-788495"/>
              <a:ext cx="9078526" cy="9078526"/>
            </a:xfrm>
            <a:prstGeom prst="ellipse">
              <a:avLst/>
            </a:prstGeom>
            <a:noFill/>
            <a:ln w="3175">
              <a:solidFill>
                <a:schemeClr val="accent1">
                  <a:shade val="50000"/>
                  <a:alpha val="28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7754046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Switch </a:t>
            </a:r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spc="50" dirty="0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— групповой условный оператор</a:t>
            </a:r>
            <a:endParaRPr lang="en-RU" sz="2800" spc="50" dirty="0">
              <a:gradFill flip="none" rotWithShape="1">
                <a:gsLst>
                  <a:gs pos="0">
                    <a:srgbClr val="1A69DF"/>
                  </a:gs>
                  <a:gs pos="73000">
                    <a:srgbClr val="9000FF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64648C3-DEDB-4D9A-A128-7FBEF54267B5}"/>
              </a:ext>
            </a:extLst>
          </p:cNvPr>
          <p:cNvSpPr/>
          <p:nvPr/>
        </p:nvSpPr>
        <p:spPr>
          <a:xfrm>
            <a:off x="5432822" y="1722986"/>
            <a:ext cx="6243304" cy="1706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pc="50" dirty="0">
                <a:solidFill>
                  <a:schemeClr val="bg1"/>
                </a:solidFill>
                <a:latin typeface="Manrope Extra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Что думаем: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Если Имя равно </a:t>
            </a:r>
            <a:r>
              <a:rPr lang="ru-RU" sz="1600" b="1" spc="50" dirty="0">
                <a:solidFill>
                  <a:schemeClr val="accent3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‘Маша’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, то девочка;</a:t>
            </a:r>
            <a:b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Если </a:t>
            </a:r>
            <a:r>
              <a:rPr lang="ru-RU" sz="1600" spc="50" dirty="0">
                <a:solidFill>
                  <a:schemeClr val="accent3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‘Миша’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, то мальчик;</a:t>
            </a:r>
            <a:b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Если </a:t>
            </a:r>
            <a:r>
              <a:rPr lang="ru-RU" sz="1600" spc="50" dirty="0">
                <a:solidFill>
                  <a:schemeClr val="accent3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‘Игорь Иванович’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, то взрослый дядька;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Остальные — </a:t>
            </a:r>
            <a:r>
              <a:rPr lang="ru-RU" sz="1400" spc="50" dirty="0" err="1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Человеки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.</a:t>
            </a:r>
            <a:endParaRPr lang="ru-RU" sz="1400" b="1" dirty="0">
              <a:solidFill>
                <a:srgbClr val="00FFFF"/>
              </a:solidFill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0EFCCC6-014A-4529-9673-2B97B527458F}"/>
              </a:ext>
            </a:extLst>
          </p:cNvPr>
          <p:cNvGrpSpPr/>
          <p:nvPr/>
        </p:nvGrpSpPr>
        <p:grpSpPr>
          <a:xfrm>
            <a:off x="668632" y="1485839"/>
            <a:ext cx="4107553" cy="4909655"/>
            <a:chOff x="781235" y="3789298"/>
            <a:chExt cx="4107553" cy="4909655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7C52F608-B9B7-42D9-9CDC-8993F70EC09A}"/>
                </a:ext>
              </a:extLst>
            </p:cNvPr>
            <p:cNvSpPr/>
            <p:nvPr/>
          </p:nvSpPr>
          <p:spPr>
            <a:xfrm>
              <a:off x="781235" y="3789298"/>
              <a:ext cx="4107553" cy="4909655"/>
            </a:xfrm>
            <a:prstGeom prst="roundRect">
              <a:avLst>
                <a:gd name="adj" fmla="val 3980"/>
              </a:avLst>
            </a:prstGeom>
            <a:solidFill>
              <a:srgbClr val="1E1E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144000" rtlCol="0" anchor="t"/>
            <a:lstStyle/>
            <a:p>
              <a:r>
                <a:rPr lang="ru-RU" sz="1400" spc="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anrope ExtraBold" pitchFamily="2" charset="0"/>
                  <a:ea typeface="Inter SemiBold" panose="02000503000000020004" pitchFamily="2" charset="0"/>
                  <a:cs typeface="Arial" panose="020B0604020202020204" pitchFamily="34" charset="0"/>
                </a:rPr>
                <a:t>Что пишем</a:t>
              </a:r>
              <a:br>
                <a:rPr lang="en-US" sz="1400" spc="50" dirty="0">
                  <a:solidFill>
                    <a:schemeClr val="accent5"/>
                  </a:solidFill>
                  <a:latin typeface="Manrope SemiBold" pitchFamily="2" charset="0"/>
                  <a:ea typeface="Inter SemiBold" panose="02000503000000020004" pitchFamily="2" charset="0"/>
                  <a:cs typeface="Arial" panose="020B0604020202020204" pitchFamily="34" charset="0"/>
                </a:rPr>
              </a:br>
              <a:br>
                <a:rPr lang="en-US" sz="1000" spc="50" dirty="0">
                  <a:solidFill>
                    <a:schemeClr val="bg1"/>
                  </a:solidFill>
                  <a:latin typeface="Manrope ExtraBold" pitchFamily="2" charset="0"/>
                  <a:ea typeface="Inter SemiBold" panose="02000503000000020004" pitchFamily="2" charset="0"/>
                  <a:cs typeface="Arial" panose="020B0604020202020204" pitchFamily="34" charset="0"/>
                </a:rPr>
              </a:br>
              <a:endParaRPr lang="en-US" dirty="0">
                <a:latin typeface="Source Code Pro" panose="020B0309030403020204" pitchFamily="49" charset="0"/>
                <a:ea typeface="Source Code Pro" panose="020B0309030403020204" pitchFamily="49" charset="0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134AB7A-1D96-4EF0-BFF3-D64352ECD38C}"/>
                </a:ext>
              </a:extLst>
            </p:cNvPr>
            <p:cNvGrpSpPr/>
            <p:nvPr/>
          </p:nvGrpSpPr>
          <p:grpSpPr>
            <a:xfrm>
              <a:off x="3634371" y="4016429"/>
              <a:ext cx="935361" cy="132442"/>
              <a:chOff x="1225074" y="4183148"/>
              <a:chExt cx="1239408" cy="175493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D24EBC69-4D99-4637-8E33-A1FA57D07F85}"/>
                  </a:ext>
                </a:extLst>
              </p:cNvPr>
              <p:cNvCxnSpPr/>
              <p:nvPr/>
            </p:nvCxnSpPr>
            <p:spPr>
              <a:xfrm>
                <a:off x="1225074" y="4282583"/>
                <a:ext cx="208281" cy="0"/>
              </a:xfrm>
              <a:prstGeom prst="line">
                <a:avLst/>
              </a:prstGeom>
              <a:ln w="2222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DF6D70E6-126E-4B47-9FC1-B76597F7D83B}"/>
                  </a:ext>
                </a:extLst>
              </p:cNvPr>
              <p:cNvGrpSpPr/>
              <p:nvPr/>
            </p:nvGrpSpPr>
            <p:grpSpPr>
              <a:xfrm>
                <a:off x="2281569" y="4191000"/>
                <a:ext cx="182913" cy="167640"/>
                <a:chOff x="2028204" y="4191000"/>
                <a:chExt cx="182913" cy="16764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0B1F9F08-DE81-4BB3-A13C-CB5D1D62FC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28238" y="4191000"/>
                  <a:ext cx="182879" cy="16764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225BDC08-3360-4FEE-9116-B3595E222C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28204" y="4191000"/>
                  <a:ext cx="182882" cy="16764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0F24EF2-0924-479B-BD50-BF7D51EFD084}"/>
                  </a:ext>
                </a:extLst>
              </p:cNvPr>
              <p:cNvSpPr/>
              <p:nvPr/>
            </p:nvSpPr>
            <p:spPr>
              <a:xfrm>
                <a:off x="1769728" y="4183148"/>
                <a:ext cx="175495" cy="175493"/>
              </a:xfrm>
              <a:prstGeom prst="rect">
                <a:avLst/>
              </a:prstGeom>
              <a:noFill/>
              <a:ln w="2222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C52612C-EB71-4C8F-89E8-337293E82061}"/>
                </a:ext>
              </a:extLst>
            </p:cNvPr>
            <p:cNvCxnSpPr>
              <a:cxnSpLocks/>
            </p:cNvCxnSpPr>
            <p:nvPr/>
          </p:nvCxnSpPr>
          <p:spPr>
            <a:xfrm>
              <a:off x="781235" y="4346016"/>
              <a:ext cx="4107553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7DBAB8FE-C77F-4654-B23E-B709616E95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869" y="2147584"/>
            <a:ext cx="3362219" cy="3885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714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3" presetClass="entr" presetSubtype="16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4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4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4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C5ADD52D-1DF2-48BE-A3FA-479CD51BC5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304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1074967" y="1013913"/>
            <a:ext cx="8961120" cy="685980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57DA874-434B-4960-B80F-BFF2C1F58193}"/>
              </a:ext>
            </a:extLst>
          </p:cNvPr>
          <p:cNvSpPr/>
          <p:nvPr/>
        </p:nvSpPr>
        <p:spPr>
          <a:xfrm>
            <a:off x="1" y="0"/>
            <a:ext cx="12192000" cy="6857999"/>
          </a:xfrm>
          <a:prstGeom prst="rect">
            <a:avLst/>
          </a:prstGeom>
          <a:solidFill>
            <a:schemeClr val="tx1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5585183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Цикл </a:t>
            </a:r>
            <a:r>
              <a:rPr lang="ru-RU" sz="2800" spc="50" dirty="0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 </a:t>
            </a:r>
            <a:r>
              <a:rPr lang="en-US" sz="2800" spc="50" dirty="0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for, while, map, </a:t>
            </a:r>
            <a:r>
              <a:rPr lang="en-US" sz="2800" spc="50" dirty="0" err="1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forEach</a:t>
            </a:r>
            <a:endParaRPr lang="en-RU" sz="2800" spc="50" dirty="0">
              <a:gradFill flip="none" rotWithShape="1">
                <a:gsLst>
                  <a:gs pos="0">
                    <a:srgbClr val="1A69DF"/>
                  </a:gs>
                  <a:gs pos="73000">
                    <a:srgbClr val="9000FF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D56B335-4F0B-40A3-AA21-60F0C6D0650A}"/>
              </a:ext>
            </a:extLst>
          </p:cNvPr>
          <p:cNvGrpSpPr/>
          <p:nvPr/>
        </p:nvGrpSpPr>
        <p:grpSpPr>
          <a:xfrm>
            <a:off x="669195" y="2147656"/>
            <a:ext cx="10511161" cy="4592319"/>
            <a:chOff x="781235" y="1574801"/>
            <a:chExt cx="10511161" cy="4592319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F2686D5-11F0-4A86-B0E8-D9F881FFBBC9}"/>
                </a:ext>
              </a:extLst>
            </p:cNvPr>
            <p:cNvSpPr/>
            <p:nvPr/>
          </p:nvSpPr>
          <p:spPr>
            <a:xfrm>
              <a:off x="781235" y="1574801"/>
              <a:ext cx="10511161" cy="4592319"/>
            </a:xfrm>
            <a:prstGeom prst="roundRect">
              <a:avLst>
                <a:gd name="adj" fmla="val 3980"/>
              </a:avLst>
            </a:prstGeom>
            <a:solidFill>
              <a:srgbClr val="1E1E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108000" rtlCol="0" anchor="t"/>
            <a:lstStyle/>
            <a:p>
              <a:r>
                <a:rPr lang="ru-RU" sz="1400" spc="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anrope ExtraBold" pitchFamily="2" charset="0"/>
                  <a:ea typeface="Inter SemiBold" panose="02000503000000020004" pitchFamily="2" charset="0"/>
                  <a:cs typeface="Arial" panose="020B0604020202020204" pitchFamily="34" charset="0"/>
                </a:rPr>
                <a:t>Что пишем</a:t>
              </a:r>
              <a:r>
                <a:rPr lang="en-US" sz="1400" spc="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anrope" pitchFamily="2" charset="0"/>
                  <a:ea typeface="Source Code Pro" panose="020B0309030403020204" pitchFamily="49" charset="0"/>
                  <a:cs typeface="Arial" panose="020B0604020202020204" pitchFamily="34" charset="0"/>
                </a:rPr>
                <a:t> (</a:t>
              </a:r>
              <a:r>
                <a:rPr lang="ru-RU" sz="1400" spc="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anrope" pitchFamily="2" charset="0"/>
                  <a:ea typeface="Source Code Pro" panose="020B0309030403020204" pitchFamily="49" charset="0"/>
                  <a:cs typeface="Arial" panose="020B0604020202020204" pitchFamily="34" charset="0"/>
                </a:rPr>
                <a:t>пример с </a:t>
              </a:r>
              <a:r>
                <a:rPr lang="ru-RU" sz="16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map</a:t>
              </a:r>
              <a:r>
                <a:rPr lang="ru-RU" sz="1400" spc="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anrope" pitchFamily="2" charset="0"/>
                  <a:ea typeface="Source Code Pro" panose="020B0309030403020204" pitchFamily="49" charset="0"/>
                  <a:cs typeface="Arial" panose="020B0604020202020204" pitchFamily="34" charset="0"/>
                </a:rPr>
                <a:t>  и </a:t>
              </a:r>
              <a:r>
                <a:rPr lang="ru-RU" sz="16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forEach</a:t>
              </a:r>
              <a:r>
                <a:rPr lang="en-US" sz="1400" spc="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anrope" pitchFamily="2" charset="0"/>
                  <a:ea typeface="Source Code Pro" panose="020B0309030403020204" pitchFamily="49" charset="0"/>
                  <a:cs typeface="Arial" panose="020B0604020202020204" pitchFamily="34" charset="0"/>
                </a:rPr>
                <a:t>):</a:t>
              </a:r>
              <a:br>
                <a:rPr lang="en-US" sz="1400" spc="50" dirty="0">
                  <a:solidFill>
                    <a:schemeClr val="accent5"/>
                  </a:solidFill>
                  <a:latin typeface="Manrope SemiBold" pitchFamily="2" charset="0"/>
                  <a:ea typeface="Inter SemiBold" panose="02000503000000020004" pitchFamily="2" charset="0"/>
                  <a:cs typeface="Arial" panose="020B0604020202020204" pitchFamily="34" charset="0"/>
                </a:rPr>
              </a:br>
              <a:br>
                <a:rPr lang="en-US" sz="1000" spc="50" dirty="0">
                  <a:solidFill>
                    <a:schemeClr val="bg1"/>
                  </a:solidFill>
                  <a:latin typeface="Manrope ExtraBold" pitchFamily="2" charset="0"/>
                  <a:ea typeface="Inter SemiBold" panose="02000503000000020004" pitchFamily="2" charset="0"/>
                  <a:cs typeface="Arial" panose="020B0604020202020204" pitchFamily="34" charset="0"/>
                </a:rPr>
              </a:br>
              <a:endParaRPr lang="en-US" sz="1400" dirty="0">
                <a:latin typeface="Source Code Pro" panose="020B0309030403020204" pitchFamily="49" charset="0"/>
                <a:ea typeface="Source Code Pro" panose="020B0309030403020204" pitchFamily="49" charset="0"/>
              </a:endParaRPr>
            </a:p>
            <a:p>
              <a:br>
                <a:rPr lang="en-US" sz="1400" spc="50" dirty="0">
                  <a:solidFill>
                    <a:schemeClr val="accent5"/>
                  </a:solidFill>
                  <a:latin typeface="Manrope SemiBold" pitchFamily="2" charset="0"/>
                  <a:ea typeface="Inter SemiBold" panose="02000503000000020004" pitchFamily="2" charset="0"/>
                  <a:cs typeface="Arial" panose="020B0604020202020204" pitchFamily="34" charset="0"/>
                </a:rPr>
              </a:br>
              <a:br>
                <a:rPr lang="en-US" sz="1000" spc="50" dirty="0">
                  <a:solidFill>
                    <a:schemeClr val="bg1"/>
                  </a:solidFill>
                  <a:latin typeface="Manrope ExtraBold" pitchFamily="2" charset="0"/>
                  <a:ea typeface="Inter SemiBold" panose="02000503000000020004" pitchFamily="2" charset="0"/>
                  <a:cs typeface="Arial" panose="020B0604020202020204" pitchFamily="34" charset="0"/>
                </a:rPr>
              </a:br>
              <a:endParaRPr lang="ru-RU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endParaRPr>
            </a:p>
            <a:p>
              <a:pPr algn="ctr"/>
              <a:endParaRPr lang="en-US" dirty="0">
                <a:latin typeface="Source Code Pro" panose="020B0309030403020204" pitchFamily="49" charset="0"/>
                <a:ea typeface="Source Code Pro" panose="020B0309030403020204" pitchFamily="49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33F0705-16AF-4B6F-9970-D74C9271FCE7}"/>
                </a:ext>
              </a:extLst>
            </p:cNvPr>
            <p:cNvCxnSpPr/>
            <p:nvPr/>
          </p:nvCxnSpPr>
          <p:spPr>
            <a:xfrm>
              <a:off x="781235" y="2180645"/>
              <a:ext cx="10511161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66FFC70-E0CE-45CA-B317-9A4825468688}"/>
                </a:ext>
              </a:extLst>
            </p:cNvPr>
            <p:cNvGrpSpPr/>
            <p:nvPr/>
          </p:nvGrpSpPr>
          <p:grpSpPr>
            <a:xfrm>
              <a:off x="10093324" y="1851058"/>
              <a:ext cx="935355" cy="132442"/>
              <a:chOff x="9783565" y="4183148"/>
              <a:chExt cx="1239400" cy="175493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E392CCA0-A6C7-4E97-81E8-5016362AF17B}"/>
                  </a:ext>
                </a:extLst>
              </p:cNvPr>
              <p:cNvCxnSpPr/>
              <p:nvPr/>
            </p:nvCxnSpPr>
            <p:spPr>
              <a:xfrm>
                <a:off x="9783565" y="4282583"/>
                <a:ext cx="208281" cy="0"/>
              </a:xfrm>
              <a:prstGeom prst="line">
                <a:avLst/>
              </a:prstGeom>
              <a:ln w="2222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228861E1-9413-4047-9387-079CD2FBBA55}"/>
                  </a:ext>
                </a:extLst>
              </p:cNvPr>
              <p:cNvGrpSpPr/>
              <p:nvPr/>
            </p:nvGrpSpPr>
            <p:grpSpPr>
              <a:xfrm>
                <a:off x="10840085" y="4191000"/>
                <a:ext cx="182880" cy="167640"/>
                <a:chOff x="10586720" y="4191000"/>
                <a:chExt cx="182880" cy="167640"/>
              </a:xfrm>
            </p:grpSpPr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BFCC00C6-4CB1-4025-9899-1E74EE5048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586720" y="4191000"/>
                  <a:ext cx="182880" cy="16764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613259DB-F873-4E9A-9914-D198E4757EB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586720" y="4191000"/>
                  <a:ext cx="182880" cy="16764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DDBC05C-73ED-4E94-8154-A3DFA1F1D67B}"/>
                  </a:ext>
                </a:extLst>
              </p:cNvPr>
              <p:cNvSpPr/>
              <p:nvPr/>
            </p:nvSpPr>
            <p:spPr>
              <a:xfrm>
                <a:off x="10328217" y="4183148"/>
                <a:ext cx="175495" cy="175493"/>
              </a:xfrm>
              <a:prstGeom prst="rect">
                <a:avLst/>
              </a:prstGeom>
              <a:noFill/>
              <a:ln w="2222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D65353D1-7368-46E6-96BD-07F95904434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645" y="2933218"/>
            <a:ext cx="8093220" cy="3806749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A6E66F9D-A94D-4C1E-A7DE-5B2D4385C0C6}"/>
              </a:ext>
            </a:extLst>
          </p:cNvPr>
          <p:cNvSpPr/>
          <p:nvPr/>
        </p:nvSpPr>
        <p:spPr>
          <a:xfrm>
            <a:off x="668632" y="1384253"/>
            <a:ext cx="11007494" cy="4024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pc="50" dirty="0">
                <a:solidFill>
                  <a:schemeClr val="bg1"/>
                </a:solidFill>
                <a:latin typeface="Manrope Extra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Что думаем: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ru-RU" sz="14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Пока не кончился список элементов, показываем название каждого элемента</a:t>
            </a:r>
            <a:endParaRPr lang="en-US" sz="1400" spc="50" dirty="0">
              <a:solidFill>
                <a:schemeClr val="bg1"/>
              </a:solidFill>
              <a:latin typeface="Manrope" pitchFamily="2" charset="0"/>
              <a:ea typeface="Source Code Pro" panose="020B0309030403020204" pitchFamily="49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430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1849740-673C-4B3B-B151-EA65277F85C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223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1" y="0"/>
            <a:ext cx="6857998" cy="5224607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CED2C6F0-B518-4EB3-BCFD-3EE299981FB2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3586238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Function </a:t>
            </a:r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spc="50" dirty="0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Функция</a:t>
            </a:r>
            <a:endParaRPr lang="en-RU" sz="2800" spc="50" dirty="0">
              <a:gradFill flip="none" rotWithShape="1">
                <a:gsLst>
                  <a:gs pos="0">
                    <a:srgbClr val="1A69DF"/>
                  </a:gs>
                  <a:gs pos="73000">
                    <a:srgbClr val="9000FF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90EFCCC6-014A-4529-9673-2B97B527458F}"/>
              </a:ext>
            </a:extLst>
          </p:cNvPr>
          <p:cNvGrpSpPr/>
          <p:nvPr/>
        </p:nvGrpSpPr>
        <p:grpSpPr>
          <a:xfrm>
            <a:off x="668632" y="3031158"/>
            <a:ext cx="4107553" cy="3154232"/>
            <a:chOff x="781235" y="3789299"/>
            <a:chExt cx="4107553" cy="3154232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7C52F608-B9B7-42D9-9CDC-8993F70EC09A}"/>
                </a:ext>
              </a:extLst>
            </p:cNvPr>
            <p:cNvSpPr/>
            <p:nvPr/>
          </p:nvSpPr>
          <p:spPr>
            <a:xfrm>
              <a:off x="781235" y="3789299"/>
              <a:ext cx="4107553" cy="3154232"/>
            </a:xfrm>
            <a:prstGeom prst="roundRect">
              <a:avLst>
                <a:gd name="adj" fmla="val 3980"/>
              </a:avLst>
            </a:prstGeom>
            <a:solidFill>
              <a:srgbClr val="1E1E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144000" rtlCol="0" anchor="t"/>
            <a:lstStyle/>
            <a:p>
              <a:endParaRPr lang="en-US" dirty="0">
                <a:latin typeface="Source Code Pro" panose="020B0309030403020204" pitchFamily="49" charset="0"/>
                <a:ea typeface="Source Code Pro" panose="020B0309030403020204" pitchFamily="49" charset="0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134AB7A-1D96-4EF0-BFF3-D64352ECD38C}"/>
                </a:ext>
              </a:extLst>
            </p:cNvPr>
            <p:cNvGrpSpPr/>
            <p:nvPr/>
          </p:nvGrpSpPr>
          <p:grpSpPr>
            <a:xfrm>
              <a:off x="3634371" y="4016429"/>
              <a:ext cx="935361" cy="132442"/>
              <a:chOff x="1225074" y="4183148"/>
              <a:chExt cx="1239408" cy="175493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D24EBC69-4D99-4637-8E33-A1FA57D07F85}"/>
                  </a:ext>
                </a:extLst>
              </p:cNvPr>
              <p:cNvCxnSpPr/>
              <p:nvPr/>
            </p:nvCxnSpPr>
            <p:spPr>
              <a:xfrm>
                <a:off x="1225074" y="4282583"/>
                <a:ext cx="208281" cy="0"/>
              </a:xfrm>
              <a:prstGeom prst="line">
                <a:avLst/>
              </a:prstGeom>
              <a:ln w="2222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DF6D70E6-126E-4B47-9FC1-B76597F7D83B}"/>
                  </a:ext>
                </a:extLst>
              </p:cNvPr>
              <p:cNvGrpSpPr/>
              <p:nvPr/>
            </p:nvGrpSpPr>
            <p:grpSpPr>
              <a:xfrm>
                <a:off x="2281569" y="4191000"/>
                <a:ext cx="182913" cy="167640"/>
                <a:chOff x="2028204" y="4191000"/>
                <a:chExt cx="182913" cy="16764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0B1F9F08-DE81-4BB3-A13C-CB5D1D62FC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28238" y="4191000"/>
                  <a:ext cx="182879" cy="16764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225BDC08-3360-4FEE-9116-B3595E222C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28204" y="4191000"/>
                  <a:ext cx="182882" cy="16764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0F24EF2-0924-479B-BD50-BF7D51EFD084}"/>
                  </a:ext>
                </a:extLst>
              </p:cNvPr>
              <p:cNvSpPr/>
              <p:nvPr/>
            </p:nvSpPr>
            <p:spPr>
              <a:xfrm>
                <a:off x="1769728" y="4183148"/>
                <a:ext cx="175495" cy="175493"/>
              </a:xfrm>
              <a:prstGeom prst="rect">
                <a:avLst/>
              </a:prstGeom>
              <a:noFill/>
              <a:ln w="2222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C52612C-EB71-4C8F-89E8-337293E82061}"/>
                </a:ext>
              </a:extLst>
            </p:cNvPr>
            <p:cNvCxnSpPr>
              <a:cxnSpLocks/>
            </p:cNvCxnSpPr>
            <p:nvPr/>
          </p:nvCxnSpPr>
          <p:spPr>
            <a:xfrm>
              <a:off x="781235" y="4346016"/>
              <a:ext cx="4107553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AE836520-3B70-437E-98AE-D889C0A64CFC}"/>
              </a:ext>
            </a:extLst>
          </p:cNvPr>
          <p:cNvSpPr/>
          <p:nvPr/>
        </p:nvSpPr>
        <p:spPr>
          <a:xfrm>
            <a:off x="5499668" y="2949311"/>
            <a:ext cx="6387531" cy="3305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400" spc="50" dirty="0">
                <a:solidFill>
                  <a:schemeClr val="accent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Синтаксис: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ru-RU" sz="1100" spc="50" dirty="0">
              <a:solidFill>
                <a:schemeClr val="bg1"/>
              </a:solidFill>
              <a:latin typeface="Manrope" pitchFamily="2" charset="0"/>
              <a:ea typeface="Source Code Pro" panose="020B0309030403020204" pitchFamily="49" charset="0"/>
              <a:cs typeface="Arial" panose="020B0604020202020204" pitchFamily="34" charset="0"/>
            </a:endParaRPr>
          </a:p>
          <a:p>
            <a:pPr marL="720000" lvl="1">
              <a:lnSpc>
                <a:spcPct val="15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используем специальное слово </a:t>
            </a:r>
            <a:r>
              <a:rPr lang="en-US" sz="14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function</a:t>
            </a:r>
          </a:p>
          <a:p>
            <a:pPr marL="720000" lvl="1">
              <a:lnSpc>
                <a:spcPct val="150000"/>
              </a:lnSpc>
              <a:spcBef>
                <a:spcPts val="3600"/>
              </a:spcBef>
              <a:buClr>
                <a:schemeClr val="bg1">
                  <a:lumMod val="50000"/>
                </a:schemeClr>
              </a:buClr>
            </a:pPr>
            <a:r>
              <a:rPr lang="ru-RU" sz="1400" dirty="0">
                <a:solidFill>
                  <a:schemeClr val="bg1"/>
                </a:solidFill>
                <a:latin typeface="Manrope" pitchFamily="2" charset="0"/>
              </a:rPr>
              <a:t> </a:t>
            </a:r>
            <a:r>
              <a:rPr lang="en-US" sz="1400" dirty="0" err="1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onKeyPress</a:t>
            </a:r>
            <a:r>
              <a:rPr lang="en-US" sz="1100" dirty="0">
                <a:solidFill>
                  <a:schemeClr val="bg1"/>
                </a:solidFill>
                <a:latin typeface="Manrope" pitchFamily="2" charset="0"/>
              </a:rPr>
              <a:t>  - 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название функции</a:t>
            </a:r>
          </a:p>
          <a:p>
            <a:pPr marL="720000" lvl="1">
              <a:lnSpc>
                <a:spcPct val="150000"/>
              </a:lnSpc>
              <a:spcBef>
                <a:spcPts val="3600"/>
              </a:spcBef>
              <a:buClr>
                <a:schemeClr val="bg1">
                  <a:lumMod val="50000"/>
                </a:schemeClr>
              </a:buClr>
            </a:pPr>
            <a:r>
              <a:rPr lang="en-US" sz="1100" dirty="0">
                <a:solidFill>
                  <a:schemeClr val="bg1"/>
                </a:solidFill>
                <a:latin typeface="Manrope" pitchFamily="2" charset="0"/>
              </a:rPr>
              <a:t>e – 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аргумент функции. Их может много – тогда указываем через запятую</a:t>
            </a:r>
            <a:r>
              <a:rPr lang="en-US" sz="1100" dirty="0">
                <a:solidFill>
                  <a:schemeClr val="bg1"/>
                </a:solidFill>
                <a:latin typeface="Manrope" pitchFamily="2" charset="0"/>
              </a:rPr>
              <a:t> </a:t>
            </a:r>
            <a:r>
              <a:rPr lang="en-US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‘,’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.</a:t>
            </a:r>
          </a:p>
          <a:p>
            <a:pPr marL="720000" lvl="1">
              <a:lnSpc>
                <a:spcPct val="150000"/>
              </a:lnSpc>
              <a:spcBef>
                <a:spcPts val="3600"/>
              </a:spcBef>
              <a:buClr>
                <a:schemeClr val="bg1">
                  <a:lumMod val="50000"/>
                </a:schemeClr>
              </a:buClr>
            </a:pP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Действия внутри функции всегда оборачиваем в </a:t>
            </a:r>
            <a:r>
              <a:rPr lang="en-US" sz="14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{}</a:t>
            </a:r>
            <a:endParaRPr lang="ru-RU" sz="1100" spc="50" dirty="0">
              <a:solidFill>
                <a:srgbClr val="00FFFF"/>
              </a:solidFill>
              <a:latin typeface="Source Code Pro" panose="020B0309030403020204" pitchFamily="49" charset="0"/>
              <a:ea typeface="Source Code Pro" panose="020B0309030403020204" pitchFamily="49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B2331CA-2231-4763-86B4-490AF34BD830}"/>
              </a:ext>
            </a:extLst>
          </p:cNvPr>
          <p:cNvSpPr/>
          <p:nvPr/>
        </p:nvSpPr>
        <p:spPr>
          <a:xfrm>
            <a:off x="668632" y="1384253"/>
            <a:ext cx="11007494" cy="1256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Функция </a:t>
            </a:r>
            <a: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—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набор действий объединенная логическим смыслом.</a:t>
            </a:r>
            <a:b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Название должно описывать действия в функции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Пример: </a:t>
            </a:r>
            <a:r>
              <a:rPr lang="ru-RU" sz="16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onClick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—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событие на клик, </a:t>
            </a:r>
            <a:r>
              <a:rPr lang="ru-RU" sz="16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printCard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—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печать карточки, </a:t>
            </a:r>
            <a:r>
              <a:rPr lang="ru-RU" sz="16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changedUser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—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смена пользователя, </a:t>
            </a:r>
            <a:b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isDigit </a:t>
            </a:r>
            <a: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— 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проверка на число</a:t>
            </a:r>
            <a:endParaRPr lang="ru-RU" sz="1200" b="1" dirty="0">
              <a:solidFill>
                <a:srgbClr val="00FFFF"/>
              </a:solidFill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49A3447-B01C-4227-8719-CAC031D3C78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063"/>
          <a:stretch/>
        </p:blipFill>
        <p:spPr>
          <a:xfrm>
            <a:off x="889959" y="3834828"/>
            <a:ext cx="3686347" cy="1932973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25368B9-D658-423A-95A7-9FDC1068887C}"/>
              </a:ext>
            </a:extLst>
          </p:cNvPr>
          <p:cNvGrpSpPr/>
          <p:nvPr/>
        </p:nvGrpSpPr>
        <p:grpSpPr>
          <a:xfrm>
            <a:off x="5471127" y="3390729"/>
            <a:ext cx="691930" cy="706790"/>
            <a:chOff x="2744455" y="6435494"/>
            <a:chExt cx="316880" cy="323686"/>
          </a:xfrm>
        </p:grpSpPr>
        <p:sp>
          <p:nvSpPr>
            <p:cNvPr id="38" name="Прямоугольник: скругленные углы 28">
              <a:extLst>
                <a:ext uri="{FF2B5EF4-FFF2-40B4-BE49-F238E27FC236}">
                  <a16:creationId xmlns:a16="http://schemas.microsoft.com/office/drawing/2014/main" id="{CF5778FE-2754-4CE0-B50C-9F1AB818F118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39" name="Прямоугольник: скругленные углы 28">
              <a:extLst>
                <a:ext uri="{FF2B5EF4-FFF2-40B4-BE49-F238E27FC236}">
                  <a16:creationId xmlns:a16="http://schemas.microsoft.com/office/drawing/2014/main" id="{BD411495-0E21-42FA-BE48-42CC0EF2E26C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40" name="Прямоугольник: скругленные углы 28">
              <a:extLst>
                <a:ext uri="{FF2B5EF4-FFF2-40B4-BE49-F238E27FC236}">
                  <a16:creationId xmlns:a16="http://schemas.microsoft.com/office/drawing/2014/main" id="{D3FE9538-8AE6-4602-AD46-25B39475CF9E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Montserrat SemiBold" panose="020B0604020202020204" charset="-52"/>
                </a:rPr>
                <a:t>1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7141C45-6A5F-42D9-B655-4922B70AF257}"/>
              </a:ext>
            </a:extLst>
          </p:cNvPr>
          <p:cNvGrpSpPr/>
          <p:nvPr/>
        </p:nvGrpSpPr>
        <p:grpSpPr>
          <a:xfrm>
            <a:off x="5471127" y="4151505"/>
            <a:ext cx="691930" cy="706790"/>
            <a:chOff x="2744455" y="6435494"/>
            <a:chExt cx="316880" cy="323686"/>
          </a:xfrm>
        </p:grpSpPr>
        <p:sp>
          <p:nvSpPr>
            <p:cNvPr id="42" name="Прямоугольник: скругленные углы 28">
              <a:extLst>
                <a:ext uri="{FF2B5EF4-FFF2-40B4-BE49-F238E27FC236}">
                  <a16:creationId xmlns:a16="http://schemas.microsoft.com/office/drawing/2014/main" id="{C956B791-D037-4013-AD82-14AC010C464B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43" name="Прямоугольник: скругленные углы 28">
              <a:extLst>
                <a:ext uri="{FF2B5EF4-FFF2-40B4-BE49-F238E27FC236}">
                  <a16:creationId xmlns:a16="http://schemas.microsoft.com/office/drawing/2014/main" id="{59E944A6-2253-4611-9A2C-4EAFD2DC520E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44" name="Прямоугольник: скругленные углы 28">
              <a:extLst>
                <a:ext uri="{FF2B5EF4-FFF2-40B4-BE49-F238E27FC236}">
                  <a16:creationId xmlns:a16="http://schemas.microsoft.com/office/drawing/2014/main" id="{D95EDC1E-7815-443C-8F74-7C05DF34798B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latin typeface="Montserrat SemiBold" panose="020B0604020202020204" charset="-52"/>
                </a:rPr>
                <a:t>2</a:t>
              </a:r>
              <a:endParaRPr lang="en-US" sz="1000" dirty="0">
                <a:latin typeface="Montserrat SemiBold" panose="020B0604020202020204" charset="-52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BA1DA213-06CE-4602-AB6F-393CDC70AB55}"/>
              </a:ext>
            </a:extLst>
          </p:cNvPr>
          <p:cNvGrpSpPr/>
          <p:nvPr/>
        </p:nvGrpSpPr>
        <p:grpSpPr>
          <a:xfrm>
            <a:off x="5471127" y="4908378"/>
            <a:ext cx="691930" cy="706790"/>
            <a:chOff x="2744455" y="6435494"/>
            <a:chExt cx="316880" cy="323686"/>
          </a:xfrm>
        </p:grpSpPr>
        <p:sp>
          <p:nvSpPr>
            <p:cNvPr id="46" name="Прямоугольник: скругленные углы 28">
              <a:extLst>
                <a:ext uri="{FF2B5EF4-FFF2-40B4-BE49-F238E27FC236}">
                  <a16:creationId xmlns:a16="http://schemas.microsoft.com/office/drawing/2014/main" id="{A9CC954E-7421-4B55-948E-CE11A8E1E9C3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47" name="Прямоугольник: скругленные углы 28">
              <a:extLst>
                <a:ext uri="{FF2B5EF4-FFF2-40B4-BE49-F238E27FC236}">
                  <a16:creationId xmlns:a16="http://schemas.microsoft.com/office/drawing/2014/main" id="{55A27680-C332-4385-928A-344CF695698C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48" name="Прямоугольник: скругленные углы 28">
              <a:extLst>
                <a:ext uri="{FF2B5EF4-FFF2-40B4-BE49-F238E27FC236}">
                  <a16:creationId xmlns:a16="http://schemas.microsoft.com/office/drawing/2014/main" id="{A9CE213D-A895-4B92-AE6B-18C0C0562293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Montserrat SemiBold" panose="020B0604020202020204" charset="-52"/>
                </a:rPr>
                <a:t>3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228FC39-CBB9-452D-A2F3-8709938D4F2B}"/>
              </a:ext>
            </a:extLst>
          </p:cNvPr>
          <p:cNvGrpSpPr/>
          <p:nvPr/>
        </p:nvGrpSpPr>
        <p:grpSpPr>
          <a:xfrm>
            <a:off x="5471127" y="5768948"/>
            <a:ext cx="691930" cy="706790"/>
            <a:chOff x="2744455" y="6435494"/>
            <a:chExt cx="316880" cy="323686"/>
          </a:xfrm>
        </p:grpSpPr>
        <p:sp>
          <p:nvSpPr>
            <p:cNvPr id="50" name="Прямоугольник: скругленные углы 28">
              <a:extLst>
                <a:ext uri="{FF2B5EF4-FFF2-40B4-BE49-F238E27FC236}">
                  <a16:creationId xmlns:a16="http://schemas.microsoft.com/office/drawing/2014/main" id="{5F03FE88-AEBA-44D0-8F7F-64CCEF3FD8E1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51" name="Прямоугольник: скругленные углы 28">
              <a:extLst>
                <a:ext uri="{FF2B5EF4-FFF2-40B4-BE49-F238E27FC236}">
                  <a16:creationId xmlns:a16="http://schemas.microsoft.com/office/drawing/2014/main" id="{C9757E95-9E2C-4DCE-83E3-C63D12B00D63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52" name="Прямоугольник: скругленные углы 28">
              <a:extLst>
                <a:ext uri="{FF2B5EF4-FFF2-40B4-BE49-F238E27FC236}">
                  <a16:creationId xmlns:a16="http://schemas.microsoft.com/office/drawing/2014/main" id="{E9B31ECB-F5AE-4195-B4EE-A0242758FA25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Montserrat SemiBold" panose="020B0604020202020204" charset="-52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874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>
            <a:extLst>
              <a:ext uri="{FF2B5EF4-FFF2-40B4-BE49-F238E27FC236}">
                <a16:creationId xmlns:a16="http://schemas.microsoft.com/office/drawing/2014/main" id="{ECD859DD-0E6C-4C0A-9D7E-58D1F8FCB1D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83448" y="0"/>
            <a:ext cx="6808552" cy="635236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1849740-673C-4B3B-B151-EA65277F85C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223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1" y="0"/>
            <a:ext cx="6857998" cy="5224607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CED2C6F0-B518-4EB3-BCFD-3EE299981FB2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2363147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Объект</a:t>
            </a:r>
            <a:r>
              <a:rPr lang="en-US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b="1" spc="5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={}</a:t>
            </a:r>
            <a:endParaRPr lang="en-RU" sz="2800" b="1" spc="50" dirty="0">
              <a:solidFill>
                <a:srgbClr val="00FFFF"/>
              </a:solidFill>
              <a:latin typeface="Source Code Pro" panose="020B0309030403020204" pitchFamily="49" charset="0"/>
              <a:ea typeface="Source Code Pro" panose="020B0309030403020204" pitchFamily="49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AE836520-3B70-437E-98AE-D889C0A64CFC}"/>
              </a:ext>
            </a:extLst>
          </p:cNvPr>
          <p:cNvSpPr/>
          <p:nvPr/>
        </p:nvSpPr>
        <p:spPr>
          <a:xfrm>
            <a:off x="5499668" y="2396242"/>
            <a:ext cx="6387531" cy="35823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0" lvl="1">
              <a:lnSpc>
                <a:spcPct val="150000"/>
              </a:lnSpc>
              <a:spcBef>
                <a:spcPts val="4200"/>
              </a:spcBef>
              <a:buClr>
                <a:schemeClr val="bg1">
                  <a:lumMod val="50000"/>
                </a:schemeClr>
              </a:buClr>
            </a:pP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Объект всегда оборачивается в </a:t>
            </a:r>
            <a:r>
              <a:rPr lang="ru-RU" sz="1200" b="1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{}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, внутри скобок перечисляют поля и значения. </a:t>
            </a:r>
          </a:p>
          <a:p>
            <a:pPr marL="720000" lvl="1">
              <a:lnSpc>
                <a:spcPct val="150000"/>
              </a:lnSpc>
              <a:spcBef>
                <a:spcPts val="4200"/>
              </a:spcBef>
              <a:buClr>
                <a:schemeClr val="bg1">
                  <a:lumMod val="50000"/>
                </a:schemeClr>
              </a:buClr>
            </a:pP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Название поля и его значение отделяется двоеточием </a:t>
            </a:r>
            <a:r>
              <a:rPr lang="ru-RU" sz="1200" b="1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:</a:t>
            </a:r>
            <a:endParaRPr lang="ru-RU" sz="1100" b="1" dirty="0">
              <a:solidFill>
                <a:srgbClr val="00FFFF"/>
              </a:solidFill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720000" lvl="1">
              <a:lnSpc>
                <a:spcPct val="150000"/>
              </a:lnSpc>
              <a:spcBef>
                <a:spcPts val="4200"/>
              </a:spcBef>
              <a:buClr>
                <a:schemeClr val="bg1">
                  <a:lumMod val="50000"/>
                </a:schemeClr>
              </a:buClr>
            </a:pP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Несколько полей(построчно) разделяются запятой</a:t>
            </a:r>
            <a:r>
              <a:rPr lang="en-US" sz="1100" dirty="0">
                <a:solidFill>
                  <a:schemeClr val="bg1"/>
                </a:solidFill>
                <a:latin typeface="Manrope" pitchFamily="2" charset="0"/>
              </a:rPr>
              <a:t> </a:t>
            </a:r>
            <a:r>
              <a:rPr lang="en-US" sz="1200" b="1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,</a:t>
            </a:r>
            <a:endParaRPr lang="ru-RU" sz="1200" b="1" dirty="0">
              <a:solidFill>
                <a:srgbClr val="00FFFF"/>
              </a:solidFill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720000" lvl="1">
              <a:lnSpc>
                <a:spcPct val="150000"/>
              </a:lnSpc>
              <a:spcBef>
                <a:spcPts val="4200"/>
              </a:spcBef>
              <a:buClr>
                <a:schemeClr val="bg1">
                  <a:lumMod val="50000"/>
                </a:schemeClr>
              </a:buClr>
            </a:pP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Название поля – обязательно </a:t>
            </a:r>
            <a:r>
              <a:rPr lang="ru-RU" sz="1200" b="1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без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пробелов</a:t>
            </a:r>
          </a:p>
          <a:p>
            <a:pPr marL="720000" lvl="1">
              <a:lnSpc>
                <a:spcPct val="150000"/>
              </a:lnSpc>
              <a:spcBef>
                <a:spcPts val="4200"/>
              </a:spcBef>
              <a:buClr>
                <a:schemeClr val="bg1">
                  <a:lumMod val="50000"/>
                </a:schemeClr>
              </a:buClr>
            </a:pP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Значение может быть</a:t>
            </a:r>
            <a:r>
              <a:rPr lang="en-US" sz="1100" dirty="0">
                <a:solidFill>
                  <a:schemeClr val="bg1"/>
                </a:solidFill>
                <a:latin typeface="Manrope" pitchFamily="2" charset="0"/>
              </a:rPr>
              <a:t>  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 </a:t>
            </a:r>
            <a:r>
              <a:rPr lang="ru-RU" sz="1200" b="1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любое значение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B2331CA-2231-4763-86B4-490AF34BD830}"/>
              </a:ext>
            </a:extLst>
          </p:cNvPr>
          <p:cNvSpPr/>
          <p:nvPr/>
        </p:nvSpPr>
        <p:spPr>
          <a:xfrm>
            <a:off x="668632" y="1384253"/>
            <a:ext cx="11007494" cy="333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Объект в JS – это набор полей с названием</a:t>
            </a:r>
            <a: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(в левой части) и значение в правой части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25368B9-D658-423A-95A7-9FDC1068887C}"/>
              </a:ext>
            </a:extLst>
          </p:cNvPr>
          <p:cNvGrpSpPr/>
          <p:nvPr/>
        </p:nvGrpSpPr>
        <p:grpSpPr>
          <a:xfrm>
            <a:off x="5471127" y="2223535"/>
            <a:ext cx="691930" cy="706790"/>
            <a:chOff x="2744455" y="6435494"/>
            <a:chExt cx="316880" cy="323686"/>
          </a:xfrm>
        </p:grpSpPr>
        <p:sp>
          <p:nvSpPr>
            <p:cNvPr id="38" name="Прямоугольник: скругленные углы 28">
              <a:extLst>
                <a:ext uri="{FF2B5EF4-FFF2-40B4-BE49-F238E27FC236}">
                  <a16:creationId xmlns:a16="http://schemas.microsoft.com/office/drawing/2014/main" id="{CF5778FE-2754-4CE0-B50C-9F1AB818F118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39" name="Прямоугольник: скругленные углы 28">
              <a:extLst>
                <a:ext uri="{FF2B5EF4-FFF2-40B4-BE49-F238E27FC236}">
                  <a16:creationId xmlns:a16="http://schemas.microsoft.com/office/drawing/2014/main" id="{BD411495-0E21-42FA-BE48-42CC0EF2E26C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40" name="Прямоугольник: скругленные углы 28">
              <a:extLst>
                <a:ext uri="{FF2B5EF4-FFF2-40B4-BE49-F238E27FC236}">
                  <a16:creationId xmlns:a16="http://schemas.microsoft.com/office/drawing/2014/main" id="{D3FE9538-8AE6-4602-AD46-25B39475CF9E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Montserrat SemiBold" panose="020B0604020202020204" charset="-52"/>
                </a:rPr>
                <a:t>1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7141C45-6A5F-42D9-B655-4922B70AF257}"/>
              </a:ext>
            </a:extLst>
          </p:cNvPr>
          <p:cNvGrpSpPr/>
          <p:nvPr/>
        </p:nvGrpSpPr>
        <p:grpSpPr>
          <a:xfrm>
            <a:off x="5471127" y="3037382"/>
            <a:ext cx="691930" cy="706790"/>
            <a:chOff x="2744455" y="6435494"/>
            <a:chExt cx="316880" cy="323686"/>
          </a:xfrm>
        </p:grpSpPr>
        <p:sp>
          <p:nvSpPr>
            <p:cNvPr id="42" name="Прямоугольник: скругленные углы 28">
              <a:extLst>
                <a:ext uri="{FF2B5EF4-FFF2-40B4-BE49-F238E27FC236}">
                  <a16:creationId xmlns:a16="http://schemas.microsoft.com/office/drawing/2014/main" id="{C956B791-D037-4013-AD82-14AC010C464B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43" name="Прямоугольник: скругленные углы 28">
              <a:extLst>
                <a:ext uri="{FF2B5EF4-FFF2-40B4-BE49-F238E27FC236}">
                  <a16:creationId xmlns:a16="http://schemas.microsoft.com/office/drawing/2014/main" id="{59E944A6-2253-4611-9A2C-4EAFD2DC520E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44" name="Прямоугольник: скругленные углы 28">
              <a:extLst>
                <a:ext uri="{FF2B5EF4-FFF2-40B4-BE49-F238E27FC236}">
                  <a16:creationId xmlns:a16="http://schemas.microsoft.com/office/drawing/2014/main" id="{D95EDC1E-7815-443C-8F74-7C05DF34798B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latin typeface="Montserrat SemiBold" panose="020B0604020202020204" charset="-52"/>
                </a:rPr>
                <a:t>2</a:t>
              </a:r>
              <a:endParaRPr lang="en-US" sz="1000" dirty="0">
                <a:latin typeface="Montserrat SemiBold" panose="020B0604020202020204" charset="-52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BA1DA213-06CE-4602-AB6F-393CDC70AB55}"/>
              </a:ext>
            </a:extLst>
          </p:cNvPr>
          <p:cNvGrpSpPr/>
          <p:nvPr/>
        </p:nvGrpSpPr>
        <p:grpSpPr>
          <a:xfrm>
            <a:off x="5471127" y="3851229"/>
            <a:ext cx="691930" cy="706790"/>
            <a:chOff x="2744455" y="6435494"/>
            <a:chExt cx="316880" cy="323686"/>
          </a:xfrm>
        </p:grpSpPr>
        <p:sp>
          <p:nvSpPr>
            <p:cNvPr id="46" name="Прямоугольник: скругленные углы 28">
              <a:extLst>
                <a:ext uri="{FF2B5EF4-FFF2-40B4-BE49-F238E27FC236}">
                  <a16:creationId xmlns:a16="http://schemas.microsoft.com/office/drawing/2014/main" id="{A9CC954E-7421-4B55-948E-CE11A8E1E9C3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47" name="Прямоугольник: скругленные углы 28">
              <a:extLst>
                <a:ext uri="{FF2B5EF4-FFF2-40B4-BE49-F238E27FC236}">
                  <a16:creationId xmlns:a16="http://schemas.microsoft.com/office/drawing/2014/main" id="{55A27680-C332-4385-928A-344CF695698C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48" name="Прямоугольник: скругленные углы 28">
              <a:extLst>
                <a:ext uri="{FF2B5EF4-FFF2-40B4-BE49-F238E27FC236}">
                  <a16:creationId xmlns:a16="http://schemas.microsoft.com/office/drawing/2014/main" id="{A9CE213D-A895-4B92-AE6B-18C0C0562293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Montserrat SemiBold" panose="020B0604020202020204" charset="-52"/>
                </a:rPr>
                <a:t>3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228FC39-CBB9-452D-A2F3-8709938D4F2B}"/>
              </a:ext>
            </a:extLst>
          </p:cNvPr>
          <p:cNvGrpSpPr/>
          <p:nvPr/>
        </p:nvGrpSpPr>
        <p:grpSpPr>
          <a:xfrm>
            <a:off x="5471127" y="4665076"/>
            <a:ext cx="691930" cy="706790"/>
            <a:chOff x="2744455" y="6435494"/>
            <a:chExt cx="316880" cy="323686"/>
          </a:xfrm>
        </p:grpSpPr>
        <p:sp>
          <p:nvSpPr>
            <p:cNvPr id="50" name="Прямоугольник: скругленные углы 28">
              <a:extLst>
                <a:ext uri="{FF2B5EF4-FFF2-40B4-BE49-F238E27FC236}">
                  <a16:creationId xmlns:a16="http://schemas.microsoft.com/office/drawing/2014/main" id="{5F03FE88-AEBA-44D0-8F7F-64CCEF3FD8E1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51" name="Прямоугольник: скругленные углы 28">
              <a:extLst>
                <a:ext uri="{FF2B5EF4-FFF2-40B4-BE49-F238E27FC236}">
                  <a16:creationId xmlns:a16="http://schemas.microsoft.com/office/drawing/2014/main" id="{C9757E95-9E2C-4DCE-83E3-C63D12B00D63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52" name="Прямоугольник: скругленные углы 28">
              <a:extLst>
                <a:ext uri="{FF2B5EF4-FFF2-40B4-BE49-F238E27FC236}">
                  <a16:creationId xmlns:a16="http://schemas.microsoft.com/office/drawing/2014/main" id="{E9B31ECB-F5AE-4195-B4EE-A0242758FA25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Montserrat SemiBold" panose="020B0604020202020204" charset="-52"/>
                </a:rPr>
                <a:t>4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8C97A4E-3403-450B-A754-43284064018B}"/>
              </a:ext>
            </a:extLst>
          </p:cNvPr>
          <p:cNvGrpSpPr/>
          <p:nvPr/>
        </p:nvGrpSpPr>
        <p:grpSpPr>
          <a:xfrm>
            <a:off x="668632" y="2246661"/>
            <a:ext cx="4107553" cy="3154232"/>
            <a:chOff x="668632" y="2520403"/>
            <a:chExt cx="4107553" cy="3154232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0EFCCC6-014A-4529-9673-2B97B527458F}"/>
                </a:ext>
              </a:extLst>
            </p:cNvPr>
            <p:cNvGrpSpPr/>
            <p:nvPr/>
          </p:nvGrpSpPr>
          <p:grpSpPr>
            <a:xfrm>
              <a:off x="668632" y="2520403"/>
              <a:ext cx="4107553" cy="3154232"/>
              <a:chOff x="781235" y="3789299"/>
              <a:chExt cx="4107553" cy="3154232"/>
            </a:xfrm>
          </p:grpSpPr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7C52F608-B9B7-42D9-9CDC-8993F70EC09A}"/>
                  </a:ext>
                </a:extLst>
              </p:cNvPr>
              <p:cNvSpPr/>
              <p:nvPr/>
            </p:nvSpPr>
            <p:spPr>
              <a:xfrm>
                <a:off x="781235" y="3789299"/>
                <a:ext cx="4107553" cy="3154232"/>
              </a:xfrm>
              <a:prstGeom prst="roundRect">
                <a:avLst>
                  <a:gd name="adj" fmla="val 3980"/>
                </a:avLst>
              </a:prstGeom>
              <a:solidFill>
                <a:srgbClr val="1E1E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2000" tIns="144000" rtlCol="0" anchor="t"/>
              <a:lstStyle/>
              <a:p>
                <a:endParaRPr lang="en-US" dirty="0">
                  <a:latin typeface="Source Code Pro" panose="020B0309030403020204" pitchFamily="49" charset="0"/>
                  <a:ea typeface="Source Code Pro" panose="020B0309030403020204" pitchFamily="49" charset="0"/>
                </a:endParaRP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0134AB7A-1D96-4EF0-BFF3-D64352ECD38C}"/>
                  </a:ext>
                </a:extLst>
              </p:cNvPr>
              <p:cNvGrpSpPr/>
              <p:nvPr/>
            </p:nvGrpSpPr>
            <p:grpSpPr>
              <a:xfrm>
                <a:off x="3634371" y="4016429"/>
                <a:ext cx="935361" cy="132442"/>
                <a:chOff x="1225074" y="4183148"/>
                <a:chExt cx="1239408" cy="175493"/>
              </a:xfrm>
            </p:grpSpPr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D24EBC69-4D99-4637-8E33-A1FA57D07F85}"/>
                    </a:ext>
                  </a:extLst>
                </p:cNvPr>
                <p:cNvCxnSpPr/>
                <p:nvPr/>
              </p:nvCxnSpPr>
              <p:spPr>
                <a:xfrm>
                  <a:off x="1225074" y="4282583"/>
                  <a:ext cx="208281" cy="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DF6D70E6-126E-4B47-9FC1-B76597F7D83B}"/>
                    </a:ext>
                  </a:extLst>
                </p:cNvPr>
                <p:cNvGrpSpPr/>
                <p:nvPr/>
              </p:nvGrpSpPr>
              <p:grpSpPr>
                <a:xfrm>
                  <a:off x="2281569" y="4191000"/>
                  <a:ext cx="182913" cy="167640"/>
                  <a:chOff x="2028204" y="4191000"/>
                  <a:chExt cx="182913" cy="167640"/>
                </a:xfrm>
              </p:grpSpPr>
              <p:cxnSp>
                <p:nvCxnSpPr>
                  <p:cNvPr id="22" name="Straight Connector 21">
                    <a:extLst>
                      <a:ext uri="{FF2B5EF4-FFF2-40B4-BE49-F238E27FC236}">
                        <a16:creationId xmlns:a16="http://schemas.microsoft.com/office/drawing/2014/main" id="{0B1F9F08-DE81-4BB3-A13C-CB5D1D62FCD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028238" y="4191000"/>
                    <a:ext cx="182879" cy="167640"/>
                  </a:xfrm>
                  <a:prstGeom prst="line">
                    <a:avLst/>
                  </a:prstGeom>
                  <a:ln w="22225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" name="Straight Connector 22">
                    <a:extLst>
                      <a:ext uri="{FF2B5EF4-FFF2-40B4-BE49-F238E27FC236}">
                        <a16:creationId xmlns:a16="http://schemas.microsoft.com/office/drawing/2014/main" id="{225BDC08-3360-4FEE-9116-B3595E222CD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2028204" y="4191000"/>
                    <a:ext cx="182882" cy="167640"/>
                  </a:xfrm>
                  <a:prstGeom prst="line">
                    <a:avLst/>
                  </a:prstGeom>
                  <a:ln w="22225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40F24EF2-0924-479B-BD50-BF7D51EFD084}"/>
                    </a:ext>
                  </a:extLst>
                </p:cNvPr>
                <p:cNvSpPr/>
                <p:nvPr/>
              </p:nvSpPr>
              <p:spPr>
                <a:xfrm>
                  <a:off x="1769728" y="4183148"/>
                  <a:ext cx="175495" cy="175493"/>
                </a:xfrm>
                <a:prstGeom prst="rect">
                  <a:avLst/>
                </a:prstGeom>
                <a:noFill/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4C52612C-EB71-4C8F-89E8-337293E820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1235" y="4346016"/>
                <a:ext cx="4107553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0A0D18E2-7A9F-4731-BF6B-1CDE41323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6463" y="3226096"/>
              <a:ext cx="3878343" cy="1928398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DCD65AB-152E-4A46-AEB6-114FEBBA0BEB}"/>
              </a:ext>
            </a:extLst>
          </p:cNvPr>
          <p:cNvGrpSpPr/>
          <p:nvPr/>
        </p:nvGrpSpPr>
        <p:grpSpPr>
          <a:xfrm>
            <a:off x="5471127" y="5478924"/>
            <a:ext cx="691930" cy="706790"/>
            <a:chOff x="2744455" y="6435494"/>
            <a:chExt cx="316880" cy="323686"/>
          </a:xfrm>
        </p:grpSpPr>
        <p:sp>
          <p:nvSpPr>
            <p:cNvPr id="53" name="Прямоугольник: скругленные углы 28">
              <a:extLst>
                <a:ext uri="{FF2B5EF4-FFF2-40B4-BE49-F238E27FC236}">
                  <a16:creationId xmlns:a16="http://schemas.microsoft.com/office/drawing/2014/main" id="{27E10378-2002-4EE6-866F-70D4DF7D8CC1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54" name="Прямоугольник: скругленные углы 28">
              <a:extLst>
                <a:ext uri="{FF2B5EF4-FFF2-40B4-BE49-F238E27FC236}">
                  <a16:creationId xmlns:a16="http://schemas.microsoft.com/office/drawing/2014/main" id="{7A835D60-6986-46CF-A813-99D6A0ED4FF8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55" name="Прямоугольник: скругленные углы 28">
              <a:extLst>
                <a:ext uri="{FF2B5EF4-FFF2-40B4-BE49-F238E27FC236}">
                  <a16:creationId xmlns:a16="http://schemas.microsoft.com/office/drawing/2014/main" id="{9A2AF456-90C8-4176-9A1B-0DC1B202E320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Montserrat SemiBold" panose="020B0604020202020204" charset="-52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6352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10000" tmFilter="0, 0; .2, .5; .8, .5; 1, 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5000" autoRev="1" fill="hold"/>
                                        <p:tgtEl>
                                          <p:spTgt spid="5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2062930C-8646-4BC1-B38F-0BD8470697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304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804"/>
            <a:ext cx="12192000" cy="685980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1849740-673C-4B3B-B151-EA65277F85C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23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1" y="0"/>
            <a:ext cx="6857998" cy="5224607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CED2C6F0-B518-4EB3-BCFD-3EE299981FB2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chemeClr val="tx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3358612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Свойства</a:t>
            </a:r>
            <a:r>
              <a:rPr lang="en-US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 </a:t>
            </a:r>
            <a:r>
              <a:rPr lang="en-US" sz="2800" spc="50" dirty="0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Object</a:t>
            </a:r>
            <a:endParaRPr lang="en-RU" sz="2800" spc="50" dirty="0">
              <a:gradFill flip="none" rotWithShape="1">
                <a:gsLst>
                  <a:gs pos="0">
                    <a:srgbClr val="1A69DF"/>
                  </a:gs>
                  <a:gs pos="73000">
                    <a:srgbClr val="9000FF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90EFCCC6-014A-4529-9673-2B97B527458F}"/>
              </a:ext>
            </a:extLst>
          </p:cNvPr>
          <p:cNvGrpSpPr/>
          <p:nvPr/>
        </p:nvGrpSpPr>
        <p:grpSpPr>
          <a:xfrm>
            <a:off x="668632" y="1513642"/>
            <a:ext cx="4107553" cy="3154232"/>
            <a:chOff x="781235" y="3789299"/>
            <a:chExt cx="4107553" cy="3154232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7C52F608-B9B7-42D9-9CDC-8993F70EC09A}"/>
                </a:ext>
              </a:extLst>
            </p:cNvPr>
            <p:cNvSpPr/>
            <p:nvPr/>
          </p:nvSpPr>
          <p:spPr>
            <a:xfrm>
              <a:off x="781235" y="3789299"/>
              <a:ext cx="4107553" cy="3154232"/>
            </a:xfrm>
            <a:prstGeom prst="roundRect">
              <a:avLst>
                <a:gd name="adj" fmla="val 3980"/>
              </a:avLst>
            </a:prstGeom>
            <a:solidFill>
              <a:srgbClr val="1E1E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144000" rtlCol="0" anchor="t"/>
            <a:lstStyle/>
            <a:p>
              <a:endParaRPr lang="en-US" dirty="0">
                <a:latin typeface="Source Code Pro" panose="020B0309030403020204" pitchFamily="49" charset="0"/>
                <a:ea typeface="Source Code Pro" panose="020B0309030403020204" pitchFamily="49" charset="0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134AB7A-1D96-4EF0-BFF3-D64352ECD38C}"/>
                </a:ext>
              </a:extLst>
            </p:cNvPr>
            <p:cNvGrpSpPr/>
            <p:nvPr/>
          </p:nvGrpSpPr>
          <p:grpSpPr>
            <a:xfrm>
              <a:off x="3634371" y="4016429"/>
              <a:ext cx="935361" cy="132442"/>
              <a:chOff x="1225074" y="4183148"/>
              <a:chExt cx="1239408" cy="175493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D24EBC69-4D99-4637-8E33-A1FA57D07F85}"/>
                  </a:ext>
                </a:extLst>
              </p:cNvPr>
              <p:cNvCxnSpPr/>
              <p:nvPr/>
            </p:nvCxnSpPr>
            <p:spPr>
              <a:xfrm>
                <a:off x="1225074" y="4282583"/>
                <a:ext cx="208281" cy="0"/>
              </a:xfrm>
              <a:prstGeom prst="line">
                <a:avLst/>
              </a:prstGeom>
              <a:ln w="2222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DF6D70E6-126E-4B47-9FC1-B76597F7D83B}"/>
                  </a:ext>
                </a:extLst>
              </p:cNvPr>
              <p:cNvGrpSpPr/>
              <p:nvPr/>
            </p:nvGrpSpPr>
            <p:grpSpPr>
              <a:xfrm>
                <a:off x="2281569" y="4191000"/>
                <a:ext cx="182913" cy="167640"/>
                <a:chOff x="2028204" y="4191000"/>
                <a:chExt cx="182913" cy="16764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0B1F9F08-DE81-4BB3-A13C-CB5D1D62FC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28238" y="4191000"/>
                  <a:ext cx="182879" cy="16764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225BDC08-3360-4FEE-9116-B3595E222C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28204" y="4191000"/>
                  <a:ext cx="182882" cy="16764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0F24EF2-0924-479B-BD50-BF7D51EFD084}"/>
                  </a:ext>
                </a:extLst>
              </p:cNvPr>
              <p:cNvSpPr/>
              <p:nvPr/>
            </p:nvSpPr>
            <p:spPr>
              <a:xfrm>
                <a:off x="1769728" y="4183148"/>
                <a:ext cx="175495" cy="175493"/>
              </a:xfrm>
              <a:prstGeom prst="rect">
                <a:avLst/>
              </a:prstGeom>
              <a:noFill/>
              <a:ln w="2222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C52612C-EB71-4C8F-89E8-337293E82061}"/>
                </a:ext>
              </a:extLst>
            </p:cNvPr>
            <p:cNvCxnSpPr>
              <a:cxnSpLocks/>
            </p:cNvCxnSpPr>
            <p:nvPr/>
          </p:nvCxnSpPr>
          <p:spPr>
            <a:xfrm>
              <a:off x="781235" y="4346016"/>
              <a:ext cx="4107553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AE836520-3B70-437E-98AE-D889C0A64CFC}"/>
              </a:ext>
            </a:extLst>
          </p:cNvPr>
          <p:cNvSpPr/>
          <p:nvPr/>
        </p:nvSpPr>
        <p:spPr>
          <a:xfrm>
            <a:off x="5499668" y="1509590"/>
            <a:ext cx="6387531" cy="34394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Обратиться(получить) свойство объекта </a:t>
            </a:r>
            <a:b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можно несколькими способами: </a:t>
            </a:r>
            <a:b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endParaRPr lang="ru-RU" sz="400" spc="50" dirty="0">
              <a:solidFill>
                <a:schemeClr val="bg1"/>
              </a:solidFill>
              <a:latin typeface="Manrope SemiBold" pitchFamily="2" charset="0"/>
              <a:ea typeface="Source Code Pro" panose="020B0309030403020204" pitchFamily="49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br>
              <a:rPr lang="en-US" sz="11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endParaRPr lang="ru-RU" sz="1100" spc="50" dirty="0">
              <a:solidFill>
                <a:schemeClr val="bg1"/>
              </a:solidFill>
              <a:latin typeface="Manrope" pitchFamily="2" charset="0"/>
              <a:ea typeface="Source Code Pro" panose="020B0309030403020204" pitchFamily="49" charset="0"/>
              <a:cs typeface="Arial" panose="020B0604020202020204" pitchFamily="34" charset="0"/>
            </a:endParaRPr>
          </a:p>
          <a:p>
            <a:pPr marL="720000" lvl="1">
              <a:lnSpc>
                <a:spcPct val="15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Обратиться напрямую к свойству объекта:</a:t>
            </a:r>
          </a:p>
          <a:p>
            <a:pPr marL="720000" lvl="1">
              <a:lnSpc>
                <a:spcPct val="15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ru-RU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Объект.свойство </a:t>
            </a:r>
            <a:r>
              <a:rPr lang="en-US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 </a:t>
            </a:r>
            <a:r>
              <a:rPr lang="ru-RU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= </a:t>
            </a:r>
            <a:r>
              <a:rPr lang="ru-RU" sz="1200" dirty="0" err="1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mashaObj.age</a:t>
            </a:r>
            <a:endParaRPr lang="ru-RU" sz="1200" dirty="0">
              <a:solidFill>
                <a:srgbClr val="00FFFF"/>
              </a:solidFill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720000" lvl="1">
              <a:lnSpc>
                <a:spcPct val="15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br>
              <a:rPr lang="en-US" sz="1100" dirty="0">
                <a:solidFill>
                  <a:schemeClr val="bg1"/>
                </a:solidFill>
                <a:latin typeface="Manrope" pitchFamily="2" charset="0"/>
              </a:rPr>
            </a:br>
            <a:br>
              <a:rPr lang="en-US" sz="1100" dirty="0">
                <a:solidFill>
                  <a:schemeClr val="bg1"/>
                </a:solidFill>
                <a:latin typeface="Manrope" pitchFamily="2" charset="0"/>
              </a:rPr>
            </a:b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Используя деструктуризацию:</a:t>
            </a:r>
            <a:endParaRPr lang="en-US" sz="1100" dirty="0">
              <a:solidFill>
                <a:schemeClr val="bg1"/>
              </a:solidFill>
              <a:latin typeface="Manrope" pitchFamily="2" charset="0"/>
            </a:endParaRPr>
          </a:p>
          <a:p>
            <a:pPr marL="720000" lvl="1">
              <a:lnSpc>
                <a:spcPct val="15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en-US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const { </a:t>
            </a:r>
            <a:r>
              <a:rPr lang="ru-RU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свойство1, свойство2 } = объект;</a:t>
            </a:r>
            <a:br>
              <a:rPr lang="en-US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r>
              <a:rPr lang="en-US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const { </a:t>
            </a:r>
            <a:r>
              <a:rPr lang="en-US" sz="1200" dirty="0" err="1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daysAge</a:t>
            </a:r>
            <a:r>
              <a:rPr lang="en-US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, </a:t>
            </a:r>
            <a:r>
              <a:rPr lang="en-US" sz="1200" dirty="0" err="1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mashaAnimals</a:t>
            </a:r>
            <a:r>
              <a:rPr lang="en-US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 } = </a:t>
            </a:r>
            <a:r>
              <a:rPr lang="en-US" sz="1200" dirty="0" err="1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mashObj</a:t>
            </a:r>
            <a:r>
              <a:rPr lang="en-US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;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25368B9-D658-423A-95A7-9FDC1068887C}"/>
              </a:ext>
            </a:extLst>
          </p:cNvPr>
          <p:cNvGrpSpPr/>
          <p:nvPr/>
        </p:nvGrpSpPr>
        <p:grpSpPr>
          <a:xfrm>
            <a:off x="5471127" y="2665572"/>
            <a:ext cx="691930" cy="706790"/>
            <a:chOff x="2744455" y="6435494"/>
            <a:chExt cx="316880" cy="323686"/>
          </a:xfrm>
        </p:grpSpPr>
        <p:sp>
          <p:nvSpPr>
            <p:cNvPr id="38" name="Прямоугольник: скругленные углы 28">
              <a:extLst>
                <a:ext uri="{FF2B5EF4-FFF2-40B4-BE49-F238E27FC236}">
                  <a16:creationId xmlns:a16="http://schemas.microsoft.com/office/drawing/2014/main" id="{CF5778FE-2754-4CE0-B50C-9F1AB818F118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39" name="Прямоугольник: скругленные углы 28">
              <a:extLst>
                <a:ext uri="{FF2B5EF4-FFF2-40B4-BE49-F238E27FC236}">
                  <a16:creationId xmlns:a16="http://schemas.microsoft.com/office/drawing/2014/main" id="{BD411495-0E21-42FA-BE48-42CC0EF2E26C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40" name="Прямоугольник: скругленные углы 28">
              <a:extLst>
                <a:ext uri="{FF2B5EF4-FFF2-40B4-BE49-F238E27FC236}">
                  <a16:creationId xmlns:a16="http://schemas.microsoft.com/office/drawing/2014/main" id="{D3FE9538-8AE6-4602-AD46-25B39475CF9E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Montserrat SemiBold" panose="020B0604020202020204" charset="-52"/>
                </a:rPr>
                <a:t>1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7141C45-6A5F-42D9-B655-4922B70AF257}"/>
              </a:ext>
            </a:extLst>
          </p:cNvPr>
          <p:cNvGrpSpPr/>
          <p:nvPr/>
        </p:nvGrpSpPr>
        <p:grpSpPr>
          <a:xfrm>
            <a:off x="5471127" y="3824154"/>
            <a:ext cx="691930" cy="706790"/>
            <a:chOff x="2744455" y="6435494"/>
            <a:chExt cx="316880" cy="323686"/>
          </a:xfrm>
        </p:grpSpPr>
        <p:sp>
          <p:nvSpPr>
            <p:cNvPr id="42" name="Прямоугольник: скругленные углы 28">
              <a:extLst>
                <a:ext uri="{FF2B5EF4-FFF2-40B4-BE49-F238E27FC236}">
                  <a16:creationId xmlns:a16="http://schemas.microsoft.com/office/drawing/2014/main" id="{C956B791-D037-4013-AD82-14AC010C464B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43" name="Прямоугольник: скругленные углы 28">
              <a:extLst>
                <a:ext uri="{FF2B5EF4-FFF2-40B4-BE49-F238E27FC236}">
                  <a16:creationId xmlns:a16="http://schemas.microsoft.com/office/drawing/2014/main" id="{59E944A6-2253-4611-9A2C-4EAFD2DC520E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44" name="Прямоугольник: скругленные углы 28">
              <a:extLst>
                <a:ext uri="{FF2B5EF4-FFF2-40B4-BE49-F238E27FC236}">
                  <a16:creationId xmlns:a16="http://schemas.microsoft.com/office/drawing/2014/main" id="{D95EDC1E-7815-443C-8F74-7C05DF34798B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latin typeface="Montserrat SemiBold" panose="020B0604020202020204" charset="-52"/>
                </a:rPr>
                <a:t>2</a:t>
              </a:r>
              <a:endParaRPr lang="en-US" sz="1000" dirty="0">
                <a:latin typeface="Montserrat SemiBold" panose="020B0604020202020204" charset="-52"/>
              </a:endParaRPr>
            </a:p>
          </p:txBody>
        </p: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A8A33E44-E2BE-4531-8C69-20D8EB03C99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845"/>
          <a:stretch/>
        </p:blipFill>
        <p:spPr>
          <a:xfrm>
            <a:off x="849029" y="2381827"/>
            <a:ext cx="3744529" cy="201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26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6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8C407E2-852A-4858-9B67-0FCA3DB79F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08" t="22063" r="5287" b="39770"/>
          <a:stretch/>
        </p:blipFill>
        <p:spPr>
          <a:xfrm>
            <a:off x="0" y="0"/>
            <a:ext cx="12221496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ED45516-9259-413D-8876-1862DC12EFA0}"/>
              </a:ext>
            </a:extLst>
          </p:cNvPr>
          <p:cNvSpPr/>
          <p:nvPr/>
        </p:nvSpPr>
        <p:spPr>
          <a:xfrm>
            <a:off x="29496" y="0"/>
            <a:ext cx="12192000" cy="6857999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3890809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Отладка в браузере</a:t>
            </a:r>
            <a:endParaRPr lang="en-RU" sz="2800" spc="50" dirty="0">
              <a:gradFill flip="none" rotWithShape="1">
                <a:gsLst>
                  <a:gs pos="0">
                    <a:srgbClr val="1A69DF"/>
                  </a:gs>
                  <a:gs pos="73000">
                    <a:srgbClr val="9000FF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64648C3-DEDB-4D9A-A128-7FBEF54267B5}"/>
              </a:ext>
            </a:extLst>
          </p:cNvPr>
          <p:cNvSpPr/>
          <p:nvPr/>
        </p:nvSpPr>
        <p:spPr>
          <a:xfrm>
            <a:off x="668632" y="1384253"/>
            <a:ext cx="11582361" cy="46800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2800"/>
              </a:spcBef>
            </a:pP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F12  или кнопка Инструменты разработчика</a:t>
            </a:r>
            <a: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.</a:t>
            </a:r>
            <a:b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Три важные вкладки</a:t>
            </a:r>
            <a: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—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en-US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 </a:t>
            </a:r>
            <a:r>
              <a:rPr lang="ru-RU" sz="1400" spc="50" dirty="0" err="1">
                <a:solidFill>
                  <a:schemeClr val="accent5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Elements</a:t>
            </a:r>
            <a:r>
              <a:rPr lang="ru-RU" sz="1400" spc="50" dirty="0">
                <a:solidFill>
                  <a:schemeClr val="accent5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 / </a:t>
            </a:r>
            <a:r>
              <a:rPr lang="ru-RU" sz="1400" spc="50" dirty="0" err="1">
                <a:solidFill>
                  <a:schemeClr val="accent5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Console</a:t>
            </a:r>
            <a:r>
              <a:rPr lang="ru-RU" sz="1400" spc="50" dirty="0">
                <a:solidFill>
                  <a:schemeClr val="accent5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 / Source / </a:t>
            </a:r>
            <a:r>
              <a:rPr lang="ru-RU" sz="1400" spc="50" dirty="0" err="1">
                <a:solidFill>
                  <a:schemeClr val="accent5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Network</a:t>
            </a:r>
            <a:br>
              <a:rPr lang="en-US" sz="1400" spc="50" dirty="0">
                <a:solidFill>
                  <a:schemeClr val="accent5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endParaRPr lang="ru-RU" sz="1400" spc="50" dirty="0">
              <a:solidFill>
                <a:schemeClr val="accent5">
                  <a:lumMod val="40000"/>
                  <a:lumOff val="60000"/>
                </a:schemeClr>
              </a:solidFill>
              <a:latin typeface="Source Code Pro" panose="020B0309030403020204" pitchFamily="49" charset="0"/>
              <a:ea typeface="Source Code Pro" panose="020B0309030403020204" pitchFamily="49" charset="0"/>
              <a:cs typeface="Arial" panose="020B0604020202020204" pitchFamily="34" charset="0"/>
            </a:endParaRPr>
          </a:p>
          <a:p>
            <a:pPr marL="576000" lvl="1">
              <a:lnSpc>
                <a:spcPct val="120000"/>
              </a:lnSpc>
              <a:spcBef>
                <a:spcPts val="2800"/>
              </a:spcBef>
            </a:pPr>
            <a:r>
              <a:rPr lang="ru-RU" sz="1400" spc="50" dirty="0" err="1">
                <a:solidFill>
                  <a:schemeClr val="accent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Elements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Manrope" pitchFamily="2" charset="0"/>
              </a:rPr>
              <a:t>  —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 Видим верстку сайта + имеем доступ к CSS свойствам узлов.</a:t>
            </a:r>
            <a:br>
              <a:rPr lang="en-US" sz="1100" dirty="0">
                <a:solidFill>
                  <a:schemeClr val="bg1"/>
                </a:solidFill>
                <a:latin typeface="Manrope" pitchFamily="2" charset="0"/>
              </a:rPr>
            </a:br>
            <a:r>
              <a:rPr lang="en-US" sz="1100" dirty="0">
                <a:solidFill>
                  <a:schemeClr val="bg1"/>
                </a:solidFill>
                <a:latin typeface="Manrope" pitchFamily="2" charset="0"/>
              </a:rPr>
              <a:t>                                        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Можем сразу править CSS – и видеть результат.</a:t>
            </a:r>
          </a:p>
          <a:p>
            <a:pPr marL="576000" lvl="1">
              <a:lnSpc>
                <a:spcPct val="150000"/>
              </a:lnSpc>
              <a:spcBef>
                <a:spcPts val="2800"/>
              </a:spcBef>
            </a:pPr>
            <a:r>
              <a:rPr lang="ru-RU" sz="1400" spc="50" dirty="0" err="1">
                <a:solidFill>
                  <a:schemeClr val="accent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Console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Manrope" pitchFamily="2" charset="0"/>
              </a:rPr>
              <a:t>  —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 видим ошибки возникающие в скриптах, и вывод через метод</a:t>
            </a:r>
            <a:r>
              <a:rPr lang="en-US" sz="1100" dirty="0">
                <a:solidFill>
                  <a:schemeClr val="bg1"/>
                </a:solidFill>
                <a:latin typeface="Manrope" pitchFamily="2" charset="0"/>
              </a:rPr>
              <a:t> 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 </a:t>
            </a:r>
            <a:r>
              <a:rPr lang="ru-RU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console.log</a:t>
            </a:r>
            <a:r>
              <a:rPr lang="en-US" sz="1100" dirty="0">
                <a:solidFill>
                  <a:schemeClr val="bg1"/>
                </a:solidFill>
                <a:latin typeface="Manrope" pitchFamily="2" charset="0"/>
              </a:rPr>
              <a:t> 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(‘Привет’)</a:t>
            </a:r>
            <a:endParaRPr lang="en-US" sz="1100" dirty="0">
              <a:solidFill>
                <a:schemeClr val="bg1"/>
              </a:solidFill>
              <a:latin typeface="Manrope" pitchFamily="2" charset="0"/>
            </a:endParaRPr>
          </a:p>
          <a:p>
            <a:pPr marL="1080000" lvl="2" indent="-2857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вывод текста -</a:t>
            </a:r>
            <a:r>
              <a:rPr lang="en-US" sz="1100" dirty="0">
                <a:solidFill>
                  <a:schemeClr val="bg1"/>
                </a:solidFill>
                <a:latin typeface="Manrope" pitchFamily="2" charset="0"/>
              </a:rPr>
              <a:t> 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 </a:t>
            </a:r>
            <a:r>
              <a:rPr lang="ru-RU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console.log</a:t>
            </a:r>
            <a:r>
              <a:rPr lang="en-US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 </a:t>
            </a:r>
            <a:r>
              <a:rPr lang="ru-RU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(‘Текст ошибки’)</a:t>
            </a:r>
            <a:endParaRPr lang="en-US" sz="1200" dirty="0">
              <a:solidFill>
                <a:srgbClr val="00FFFF"/>
              </a:solidFill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1080000" lvl="2" indent="-2857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вывод значения переменной а - </a:t>
            </a:r>
            <a:r>
              <a:rPr lang="ru-RU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console.log(a)</a:t>
            </a:r>
            <a:endParaRPr lang="en-US" sz="1200" dirty="0">
              <a:solidFill>
                <a:srgbClr val="00FFFF"/>
              </a:solidFill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1080000" lvl="2" indent="-2857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вывод текста + значение переменной – </a:t>
            </a:r>
            <a:r>
              <a:rPr lang="ru-RU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console.log</a:t>
            </a:r>
            <a:r>
              <a:rPr lang="en-US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 </a:t>
            </a:r>
            <a:r>
              <a:rPr lang="ru-RU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(`переменная a:`, a);</a:t>
            </a:r>
            <a:endParaRPr lang="en-US" sz="1200" dirty="0">
              <a:solidFill>
                <a:srgbClr val="00FFFF"/>
              </a:solidFill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576000" lvl="1">
              <a:lnSpc>
                <a:spcPct val="150000"/>
              </a:lnSpc>
              <a:spcBef>
                <a:spcPts val="2800"/>
              </a:spcBef>
            </a:pPr>
            <a:r>
              <a:rPr lang="ru-RU" sz="1400" spc="50" dirty="0">
                <a:solidFill>
                  <a:schemeClr val="accent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Source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 – можем видеть свои скрипты, и проводить их отладку</a:t>
            </a:r>
          </a:p>
          <a:p>
            <a:pPr marL="576000" lvl="1">
              <a:lnSpc>
                <a:spcPct val="150000"/>
              </a:lnSpc>
              <a:spcBef>
                <a:spcPts val="2800"/>
              </a:spcBef>
            </a:pPr>
            <a:r>
              <a:rPr lang="ru-RU" sz="1400" spc="50" dirty="0" err="1">
                <a:solidFill>
                  <a:schemeClr val="accent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Network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Manrope" pitchFamily="2" charset="0"/>
              </a:rPr>
              <a:t> —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 видим все запросы ресурсов и других данных которые запрашивает страница или внутри</a:t>
            </a:r>
            <a:r>
              <a:rPr lang="en-US" sz="1100" dirty="0">
                <a:solidFill>
                  <a:schemeClr val="bg1"/>
                </a:solidFill>
                <a:latin typeface="Manrope" pitchFamily="2" charset="0"/>
              </a:rPr>
              <a:t> </a:t>
            </a:r>
            <a:r>
              <a:rPr lang="ru-RU" sz="1100" dirty="0">
                <a:solidFill>
                  <a:schemeClr val="bg1"/>
                </a:solidFill>
                <a:latin typeface="Manrope" pitchFamily="2" charset="0"/>
              </a:rPr>
              <a:t>скриптов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C5BE284-43EC-4162-B86E-8E20582E0013}"/>
              </a:ext>
            </a:extLst>
          </p:cNvPr>
          <p:cNvGrpSpPr/>
          <p:nvPr/>
        </p:nvGrpSpPr>
        <p:grpSpPr>
          <a:xfrm>
            <a:off x="515874" y="2519838"/>
            <a:ext cx="691930" cy="706790"/>
            <a:chOff x="2744455" y="6435494"/>
            <a:chExt cx="316880" cy="323686"/>
          </a:xfrm>
        </p:grpSpPr>
        <p:sp>
          <p:nvSpPr>
            <p:cNvPr id="8" name="Прямоугольник: скругленные углы 28">
              <a:extLst>
                <a:ext uri="{FF2B5EF4-FFF2-40B4-BE49-F238E27FC236}">
                  <a16:creationId xmlns:a16="http://schemas.microsoft.com/office/drawing/2014/main" id="{7C045EDC-CBEF-4DFB-9003-2D3FB106B87C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9" name="Прямоугольник: скругленные углы 28">
              <a:extLst>
                <a:ext uri="{FF2B5EF4-FFF2-40B4-BE49-F238E27FC236}">
                  <a16:creationId xmlns:a16="http://schemas.microsoft.com/office/drawing/2014/main" id="{2B794498-EA3F-4B25-B06F-543AD3242F07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10" name="Прямоугольник: скругленные углы 28">
              <a:extLst>
                <a:ext uri="{FF2B5EF4-FFF2-40B4-BE49-F238E27FC236}">
                  <a16:creationId xmlns:a16="http://schemas.microsoft.com/office/drawing/2014/main" id="{83E5A759-FE4D-4D34-A771-8BD234D8ADEF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Montserrat SemiBold" panose="020B0604020202020204" charset="-52"/>
                </a:rPr>
                <a:t>1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87EB4E7-1372-4D88-B70E-49EE0846DE29}"/>
              </a:ext>
            </a:extLst>
          </p:cNvPr>
          <p:cNvGrpSpPr/>
          <p:nvPr/>
        </p:nvGrpSpPr>
        <p:grpSpPr>
          <a:xfrm>
            <a:off x="515874" y="3403509"/>
            <a:ext cx="691930" cy="706790"/>
            <a:chOff x="2744455" y="6435494"/>
            <a:chExt cx="316880" cy="323686"/>
          </a:xfrm>
        </p:grpSpPr>
        <p:sp>
          <p:nvSpPr>
            <p:cNvPr id="21" name="Прямоугольник: скругленные углы 28">
              <a:extLst>
                <a:ext uri="{FF2B5EF4-FFF2-40B4-BE49-F238E27FC236}">
                  <a16:creationId xmlns:a16="http://schemas.microsoft.com/office/drawing/2014/main" id="{4267DD50-CFEF-4706-B7E5-FA5228E9979B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22" name="Прямоугольник: скругленные углы 28">
              <a:extLst>
                <a:ext uri="{FF2B5EF4-FFF2-40B4-BE49-F238E27FC236}">
                  <a16:creationId xmlns:a16="http://schemas.microsoft.com/office/drawing/2014/main" id="{8481AA0E-E3CC-4D3C-AD1A-F8C76893D22A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23" name="Прямоугольник: скругленные углы 28">
              <a:extLst>
                <a:ext uri="{FF2B5EF4-FFF2-40B4-BE49-F238E27FC236}">
                  <a16:creationId xmlns:a16="http://schemas.microsoft.com/office/drawing/2014/main" id="{AA377729-98E2-475F-BB52-DF73298F332C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Montserrat SemiBold" panose="020B0604020202020204" charset="-52"/>
                </a:rPr>
                <a:t>2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17922F5-04EE-4654-AC45-A62639F3E5FE}"/>
              </a:ext>
            </a:extLst>
          </p:cNvPr>
          <p:cNvGrpSpPr/>
          <p:nvPr/>
        </p:nvGrpSpPr>
        <p:grpSpPr>
          <a:xfrm>
            <a:off x="515874" y="4804665"/>
            <a:ext cx="691930" cy="706790"/>
            <a:chOff x="2744455" y="6435494"/>
            <a:chExt cx="316880" cy="323686"/>
          </a:xfrm>
        </p:grpSpPr>
        <p:sp>
          <p:nvSpPr>
            <p:cNvPr id="25" name="Прямоугольник: скругленные углы 28">
              <a:extLst>
                <a:ext uri="{FF2B5EF4-FFF2-40B4-BE49-F238E27FC236}">
                  <a16:creationId xmlns:a16="http://schemas.microsoft.com/office/drawing/2014/main" id="{8F9B8222-48A4-4F97-A237-EC0E7D59642E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26" name="Прямоугольник: скругленные углы 28">
              <a:extLst>
                <a:ext uri="{FF2B5EF4-FFF2-40B4-BE49-F238E27FC236}">
                  <a16:creationId xmlns:a16="http://schemas.microsoft.com/office/drawing/2014/main" id="{02DF26C1-A16A-4DBD-8412-83898E569EE9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27" name="Прямоугольник: скругленные углы 28">
              <a:extLst>
                <a:ext uri="{FF2B5EF4-FFF2-40B4-BE49-F238E27FC236}">
                  <a16:creationId xmlns:a16="http://schemas.microsoft.com/office/drawing/2014/main" id="{5BF851BD-73AA-47F0-A10F-A62A23044EFD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Montserrat SemiBold" panose="020B0604020202020204" charset="-52"/>
                </a:rPr>
                <a:t>3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E775C1D-EADD-447B-A2FA-AD6B848ADF37}"/>
              </a:ext>
            </a:extLst>
          </p:cNvPr>
          <p:cNvGrpSpPr/>
          <p:nvPr/>
        </p:nvGrpSpPr>
        <p:grpSpPr>
          <a:xfrm>
            <a:off x="515874" y="5521229"/>
            <a:ext cx="691930" cy="706790"/>
            <a:chOff x="2744455" y="6435494"/>
            <a:chExt cx="316880" cy="323686"/>
          </a:xfrm>
        </p:grpSpPr>
        <p:sp>
          <p:nvSpPr>
            <p:cNvPr id="29" name="Прямоугольник: скругленные углы 28">
              <a:extLst>
                <a:ext uri="{FF2B5EF4-FFF2-40B4-BE49-F238E27FC236}">
                  <a16:creationId xmlns:a16="http://schemas.microsoft.com/office/drawing/2014/main" id="{2A9B7F54-1299-4F6F-8D90-B1C865A106DE}"/>
                </a:ext>
              </a:extLst>
            </p:cNvPr>
            <p:cNvSpPr/>
            <p:nvPr/>
          </p:nvSpPr>
          <p:spPr>
            <a:xfrm>
              <a:off x="2744455" y="6435494"/>
              <a:ext cx="316880" cy="323686"/>
            </a:xfrm>
            <a:prstGeom prst="roundRect">
              <a:avLst>
                <a:gd name="adj" fmla="val 29751"/>
              </a:avLst>
            </a:prstGeom>
            <a:solidFill>
              <a:schemeClr val="accent5">
                <a:alpha val="1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30" name="Прямоугольник: скругленные углы 28">
              <a:extLst>
                <a:ext uri="{FF2B5EF4-FFF2-40B4-BE49-F238E27FC236}">
                  <a16:creationId xmlns:a16="http://schemas.microsoft.com/office/drawing/2014/main" id="{3367E8FE-73BF-4B1F-9280-12804A19DF32}"/>
                </a:ext>
              </a:extLst>
            </p:cNvPr>
            <p:cNvSpPr/>
            <p:nvPr/>
          </p:nvSpPr>
          <p:spPr>
            <a:xfrm>
              <a:off x="2787258" y="6479216"/>
              <a:ext cx="231275" cy="236243"/>
            </a:xfrm>
            <a:prstGeom prst="roundRect">
              <a:avLst>
                <a:gd name="adj" fmla="val 33099"/>
              </a:avLst>
            </a:prstGeom>
            <a:solidFill>
              <a:schemeClr val="accent5">
                <a:alpha val="5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endParaRPr lang="en-US" sz="1000" dirty="0">
                <a:latin typeface="Montserrat SemiBold" panose="020B0604020202020204" charset="-52"/>
              </a:endParaRPr>
            </a:p>
          </p:txBody>
        </p:sp>
        <p:sp>
          <p:nvSpPr>
            <p:cNvPr id="31" name="Прямоугольник: скругленные углы 28">
              <a:extLst>
                <a:ext uri="{FF2B5EF4-FFF2-40B4-BE49-F238E27FC236}">
                  <a16:creationId xmlns:a16="http://schemas.microsoft.com/office/drawing/2014/main" id="{315168CA-9A26-421B-958F-8D43CFF1E60C}"/>
                </a:ext>
              </a:extLst>
            </p:cNvPr>
            <p:cNvSpPr/>
            <p:nvPr/>
          </p:nvSpPr>
          <p:spPr>
            <a:xfrm>
              <a:off x="2836962" y="6529987"/>
              <a:ext cx="131868" cy="134700"/>
            </a:xfrm>
            <a:prstGeom prst="roundRect">
              <a:avLst>
                <a:gd name="adj" fmla="val 38244"/>
              </a:avLst>
            </a:prstGeom>
            <a:solidFill>
              <a:schemeClr val="accent5">
                <a:alpha val="20000"/>
              </a:schemeClr>
            </a:solidFill>
            <a:ln w="76200">
              <a:noFill/>
            </a:ln>
            <a:effectLst>
              <a:glow>
                <a:srgbClr val="9000FF">
                  <a:alpha val="40000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Montserrat SemiBold" panose="020B0604020202020204" charset="-52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1699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5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7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6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1A54B898-14EE-478B-BB23-432711DCDCDE}"/>
              </a:ext>
            </a:extLst>
          </p:cNvPr>
          <p:cNvGrpSpPr/>
          <p:nvPr/>
        </p:nvGrpSpPr>
        <p:grpSpPr>
          <a:xfrm>
            <a:off x="1" y="0"/>
            <a:ext cx="12203992" cy="6858000"/>
            <a:chOff x="1" y="0"/>
            <a:chExt cx="12203992" cy="68580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E44AA70-C442-470E-96BA-10AB300116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46043" y="0"/>
              <a:ext cx="9657950" cy="68580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27BA240-7102-4B3B-8EC6-62E221B3E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" y="0"/>
              <a:ext cx="4077478" cy="6858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39F1802-22BF-4969-A221-CC3F4BAF88E6}"/>
              </a:ext>
            </a:extLst>
          </p:cNvPr>
          <p:cNvGrpSpPr/>
          <p:nvPr/>
        </p:nvGrpSpPr>
        <p:grpSpPr>
          <a:xfrm>
            <a:off x="3678677" y="249038"/>
            <a:ext cx="4459484" cy="4459482"/>
            <a:chOff x="2412182" y="89085"/>
            <a:chExt cx="4665274" cy="4665274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92D7761E-40B5-460E-9017-A1DDA0A6B08D}"/>
                </a:ext>
              </a:extLst>
            </p:cNvPr>
            <p:cNvSpPr/>
            <p:nvPr/>
          </p:nvSpPr>
          <p:spPr>
            <a:xfrm>
              <a:off x="2412182" y="89085"/>
              <a:ext cx="4665274" cy="4665274"/>
            </a:xfrm>
            <a:prstGeom prst="ellipse">
              <a:avLst/>
            </a:prstGeom>
            <a:gradFill flip="none" rotWithShape="1">
              <a:gsLst>
                <a:gs pos="34000">
                  <a:schemeClr val="tx1"/>
                </a:gs>
                <a:gs pos="64000">
                  <a:schemeClr val="tx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AA80E91-42A2-461E-96A7-8B352E186A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44114" y="1321017"/>
              <a:ext cx="2201410" cy="2201410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DF91656D-6294-4776-A26B-E8137267BDF2}"/>
              </a:ext>
            </a:extLst>
          </p:cNvPr>
          <p:cNvSpPr/>
          <p:nvPr/>
        </p:nvSpPr>
        <p:spPr>
          <a:xfrm>
            <a:off x="1" y="0"/>
            <a:ext cx="12191998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9000">
                <a:schemeClr val="tx1">
                  <a:alpha val="63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DFACC7-624A-496C-A9DE-0612F8F00AE3}"/>
              </a:ext>
            </a:extLst>
          </p:cNvPr>
          <p:cNvSpPr/>
          <p:nvPr/>
        </p:nvSpPr>
        <p:spPr>
          <a:xfrm>
            <a:off x="18305" y="0"/>
            <a:ext cx="12185688" cy="6858000"/>
          </a:xfrm>
          <a:prstGeom prst="rect">
            <a:avLst/>
          </a:prstGeom>
          <a:gradFill flip="none" rotWithShape="1">
            <a:gsLst>
              <a:gs pos="0">
                <a:srgbClr val="9000FF">
                  <a:alpha val="54000"/>
                </a:srgbClr>
              </a:gs>
              <a:gs pos="89000">
                <a:schemeClr val="tx1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Прямоугольник: скругленные углы 28">
            <a:extLst>
              <a:ext uri="{FF2B5EF4-FFF2-40B4-BE49-F238E27FC236}">
                <a16:creationId xmlns:a16="http://schemas.microsoft.com/office/drawing/2014/main" id="{C501522E-691D-4A53-89CF-0129D851D936}"/>
              </a:ext>
            </a:extLst>
          </p:cNvPr>
          <p:cNvSpPr/>
          <p:nvPr/>
        </p:nvSpPr>
        <p:spPr>
          <a:xfrm>
            <a:off x="1126113" y="3948533"/>
            <a:ext cx="826848" cy="844610"/>
          </a:xfrm>
          <a:prstGeom prst="roundRect">
            <a:avLst>
              <a:gd name="adj" fmla="val 37008"/>
            </a:avLst>
          </a:prstGeom>
          <a:blipFill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760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76200">
            <a:noFill/>
          </a:ln>
          <a:effectLst>
            <a:glow>
              <a:srgbClr val="9000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000" dirty="0">
              <a:latin typeface="Montserrat SemiBold" panose="020B0604020202020204" charset="-52"/>
            </a:endParaRPr>
          </a:p>
        </p:txBody>
      </p:sp>
      <p:sp>
        <p:nvSpPr>
          <p:cNvPr id="25" name="Прямоугольник: скругленные углы 28">
            <a:extLst>
              <a:ext uri="{FF2B5EF4-FFF2-40B4-BE49-F238E27FC236}">
                <a16:creationId xmlns:a16="http://schemas.microsoft.com/office/drawing/2014/main" id="{6BB0A204-FD65-4CDD-BBE8-2DDECE94239D}"/>
              </a:ext>
            </a:extLst>
          </p:cNvPr>
          <p:cNvSpPr/>
          <p:nvPr/>
        </p:nvSpPr>
        <p:spPr>
          <a:xfrm>
            <a:off x="-1637166" y="1066800"/>
            <a:ext cx="6414434" cy="6552190"/>
          </a:xfrm>
          <a:prstGeom prst="roundRect">
            <a:avLst>
              <a:gd name="adj" fmla="val 31759"/>
            </a:avLst>
          </a:prstGeom>
          <a:solidFill>
            <a:srgbClr val="9000FF">
              <a:alpha val="5000"/>
            </a:srgbClr>
          </a:solidFill>
          <a:ln w="76200">
            <a:noFill/>
          </a:ln>
          <a:effectLst>
            <a:glow>
              <a:srgbClr val="9000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000" dirty="0">
              <a:latin typeface="Montserrat SemiBold" panose="020B0604020202020204" charset="-52"/>
            </a:endParaRPr>
          </a:p>
        </p:txBody>
      </p:sp>
      <p:sp>
        <p:nvSpPr>
          <p:cNvPr id="11" name="Прямоугольник: скругленные углы 28">
            <a:extLst>
              <a:ext uri="{FF2B5EF4-FFF2-40B4-BE49-F238E27FC236}">
                <a16:creationId xmlns:a16="http://schemas.microsoft.com/office/drawing/2014/main" id="{F8F43D08-C68B-4E62-8884-3394594ABFF6}"/>
              </a:ext>
            </a:extLst>
          </p:cNvPr>
          <p:cNvSpPr/>
          <p:nvPr/>
        </p:nvSpPr>
        <p:spPr>
          <a:xfrm>
            <a:off x="756537" y="3571026"/>
            <a:ext cx="1565994" cy="1599624"/>
          </a:xfrm>
          <a:prstGeom prst="roundRect">
            <a:avLst>
              <a:gd name="adj" fmla="val 35165"/>
            </a:avLst>
          </a:prstGeom>
          <a:solidFill>
            <a:srgbClr val="9000FF">
              <a:alpha val="5000"/>
            </a:srgbClr>
          </a:solidFill>
          <a:ln w="76200">
            <a:noFill/>
          </a:ln>
          <a:effectLst>
            <a:glow>
              <a:srgbClr val="9000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000" dirty="0">
              <a:latin typeface="Montserrat SemiBold" panose="020B0604020202020204" charset="-52"/>
            </a:endParaRPr>
          </a:p>
        </p:txBody>
      </p:sp>
      <p:sp>
        <p:nvSpPr>
          <p:cNvPr id="12" name="Прямоугольник: скругленные углы 28">
            <a:extLst>
              <a:ext uri="{FF2B5EF4-FFF2-40B4-BE49-F238E27FC236}">
                <a16:creationId xmlns:a16="http://schemas.microsoft.com/office/drawing/2014/main" id="{3B507A8A-B7A7-451B-A7BC-FC25CDD0027C}"/>
              </a:ext>
            </a:extLst>
          </p:cNvPr>
          <p:cNvSpPr/>
          <p:nvPr/>
        </p:nvSpPr>
        <p:spPr>
          <a:xfrm>
            <a:off x="980049" y="3799338"/>
            <a:ext cx="1118962" cy="1143002"/>
          </a:xfrm>
          <a:prstGeom prst="roundRect">
            <a:avLst>
              <a:gd name="adj" fmla="val 40913"/>
            </a:avLst>
          </a:prstGeom>
          <a:solidFill>
            <a:srgbClr val="9000FF">
              <a:alpha val="5000"/>
            </a:srgbClr>
          </a:solidFill>
          <a:ln w="76200">
            <a:noFill/>
          </a:ln>
          <a:effectLst>
            <a:glow>
              <a:srgbClr val="9000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000" dirty="0">
              <a:latin typeface="Montserrat SemiBold" panose="020B0604020202020204" charset="-52"/>
            </a:endParaRPr>
          </a:p>
        </p:txBody>
      </p:sp>
      <p:sp>
        <p:nvSpPr>
          <p:cNvPr id="18" name="Прямоугольник: скругленные углы 28">
            <a:extLst>
              <a:ext uri="{FF2B5EF4-FFF2-40B4-BE49-F238E27FC236}">
                <a16:creationId xmlns:a16="http://schemas.microsoft.com/office/drawing/2014/main" id="{915168B2-B1C1-40B4-B7A6-D751CF343C17}"/>
              </a:ext>
            </a:extLst>
          </p:cNvPr>
          <p:cNvSpPr/>
          <p:nvPr/>
        </p:nvSpPr>
        <p:spPr>
          <a:xfrm>
            <a:off x="402185" y="3195758"/>
            <a:ext cx="2289916" cy="2339094"/>
          </a:xfrm>
          <a:prstGeom prst="roundRect">
            <a:avLst>
              <a:gd name="adj" fmla="val 36261"/>
            </a:avLst>
          </a:prstGeom>
          <a:solidFill>
            <a:srgbClr val="9000FF">
              <a:alpha val="5000"/>
            </a:srgbClr>
          </a:solidFill>
          <a:ln w="76200">
            <a:noFill/>
          </a:ln>
          <a:effectLst>
            <a:glow>
              <a:srgbClr val="9000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000" dirty="0">
              <a:latin typeface="Montserrat SemiBold" panose="020B0604020202020204" charset="-52"/>
            </a:endParaRPr>
          </a:p>
        </p:txBody>
      </p:sp>
      <p:sp>
        <p:nvSpPr>
          <p:cNvPr id="20" name="Прямоугольник: скругленные углы 28">
            <a:extLst>
              <a:ext uri="{FF2B5EF4-FFF2-40B4-BE49-F238E27FC236}">
                <a16:creationId xmlns:a16="http://schemas.microsoft.com/office/drawing/2014/main" id="{9C4C9CD8-585D-4040-A70D-74AE9825C79C}"/>
              </a:ext>
            </a:extLst>
          </p:cNvPr>
          <p:cNvSpPr/>
          <p:nvPr/>
        </p:nvSpPr>
        <p:spPr>
          <a:xfrm>
            <a:off x="-335685" y="2442042"/>
            <a:ext cx="3765656" cy="3846526"/>
          </a:xfrm>
          <a:prstGeom prst="roundRect">
            <a:avLst>
              <a:gd name="adj" fmla="val 31669"/>
            </a:avLst>
          </a:prstGeom>
          <a:solidFill>
            <a:srgbClr val="9000FF">
              <a:alpha val="5000"/>
            </a:srgbClr>
          </a:solidFill>
          <a:ln w="76200">
            <a:noFill/>
          </a:ln>
          <a:effectLst>
            <a:glow>
              <a:srgbClr val="9000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000" dirty="0">
              <a:latin typeface="Montserrat SemiBold" panose="020B0604020202020204" charset="-52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65328B0-7402-4B90-8887-2EBE4F18352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32409" y="591842"/>
            <a:ext cx="966602" cy="535083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9A2C02C1-5FF6-41DD-9EF9-D65EABF29132}"/>
              </a:ext>
            </a:extLst>
          </p:cNvPr>
          <p:cNvSpPr txBox="1"/>
          <p:nvPr/>
        </p:nvSpPr>
        <p:spPr>
          <a:xfrm>
            <a:off x="883920" y="1718767"/>
            <a:ext cx="789902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800" b="1" u="sng" spc="800" dirty="0">
                <a:gradFill flip="none" rotWithShape="1">
                  <a:gsLst>
                    <a:gs pos="21000">
                      <a:schemeClr val="accent1"/>
                    </a:gs>
                    <a:gs pos="79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сп</a:t>
            </a:r>
            <a:r>
              <a:rPr lang="ru-RU" sz="8800" b="1" spc="800" dirty="0">
                <a:gradFill flip="none" rotWithShape="1">
                  <a:gsLst>
                    <a:gs pos="21000">
                      <a:schemeClr val="accent1"/>
                    </a:gs>
                    <a:gs pos="79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асибо</a:t>
            </a:r>
            <a:endParaRPr lang="en-US" sz="8800" b="1" spc="800" dirty="0">
              <a:gradFill flip="none" rotWithShape="1">
                <a:gsLst>
                  <a:gs pos="21000">
                    <a:schemeClr val="accent1"/>
                  </a:gs>
                  <a:gs pos="100000">
                    <a:srgbClr val="FF0000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F184CBB-D99F-4BFF-BBB3-E0A6F0249B0D}"/>
              </a:ext>
            </a:extLst>
          </p:cNvPr>
          <p:cNvSpPr txBox="1"/>
          <p:nvPr/>
        </p:nvSpPr>
        <p:spPr>
          <a:xfrm>
            <a:off x="6388608" y="2054822"/>
            <a:ext cx="7537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spc="60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" pitchFamily="2" charset="0"/>
                <a:ea typeface="Inter" panose="02000503000000020004" pitchFamily="2" charset="0"/>
                <a:cs typeface="Arial" panose="020B0604020202020204" pitchFamily="34" charset="0"/>
              </a:rPr>
              <a:t>❱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5F13127-BB82-4CF9-9132-B2A8FDDFABFD}"/>
              </a:ext>
            </a:extLst>
          </p:cNvPr>
          <p:cNvSpPr txBox="1"/>
          <p:nvPr/>
        </p:nvSpPr>
        <p:spPr>
          <a:xfrm>
            <a:off x="2111005" y="4066505"/>
            <a:ext cx="2517036" cy="5555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200" dirty="0">
                <a:solidFill>
                  <a:schemeClr val="accent5">
                    <a:lumMod val="60000"/>
                    <a:lumOff val="40000"/>
                  </a:schemeClr>
                </a:solidFill>
                <a:latin typeface="Manrope ExtraBold" pitchFamily="2" charset="0"/>
                <a:ea typeface="Inter SemiBold" panose="02000503000000020004" pitchFamily="2" charset="0"/>
                <a:cs typeface="Arial" panose="020B0604020202020204" pitchFamily="34" charset="0"/>
              </a:rPr>
              <a:t>Екатерина Акимова</a:t>
            </a:r>
            <a:br>
              <a:rPr lang="ru-RU" sz="12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Manrope" pitchFamily="2" charset="0"/>
                <a:ea typeface="Inter Medium" panose="02000503000000020004" pitchFamily="2" charset="0"/>
                <a:cs typeface="Arial" panose="020B0604020202020204" pitchFamily="34" charset="0"/>
              </a:rPr>
            </a:br>
            <a:r>
              <a:rPr lang="ru-RU" sz="900" dirty="0">
                <a:solidFill>
                  <a:schemeClr val="accent5">
                    <a:lumMod val="60000"/>
                    <a:lumOff val="40000"/>
                    <a:alpha val="35000"/>
                  </a:schemeClr>
                </a:solidFill>
                <a:latin typeface="Manrope" pitchFamily="2" charset="0"/>
                <a:ea typeface="Inter" panose="02000503000000020004" pitchFamily="2" charset="0"/>
                <a:cs typeface="Arial" panose="020B0604020202020204" pitchFamily="34" charset="0"/>
              </a:rPr>
              <a:t>Руководитель направления </a:t>
            </a:r>
            <a:r>
              <a:rPr lang="en-US" sz="900" dirty="0">
                <a:solidFill>
                  <a:schemeClr val="accent5">
                    <a:lumMod val="60000"/>
                    <a:lumOff val="40000"/>
                    <a:alpha val="35000"/>
                  </a:schemeClr>
                </a:solidFill>
                <a:latin typeface="Manrope" pitchFamily="2" charset="0"/>
                <a:ea typeface="Inter" panose="02000503000000020004" pitchFamily="2" charset="0"/>
                <a:cs typeface="Arial" panose="020B0604020202020204" pitchFamily="34" charset="0"/>
              </a:rPr>
              <a:t>FE </a:t>
            </a:r>
            <a:r>
              <a:rPr lang="ru-RU" sz="900" dirty="0">
                <a:solidFill>
                  <a:schemeClr val="accent5">
                    <a:lumMod val="60000"/>
                    <a:lumOff val="40000"/>
                    <a:alpha val="35000"/>
                  </a:schemeClr>
                </a:solidFill>
                <a:latin typeface="Manrope" pitchFamily="2" charset="0"/>
                <a:ea typeface="Inter" panose="02000503000000020004" pitchFamily="2" charset="0"/>
                <a:cs typeface="Arial" panose="020B0604020202020204" pitchFamily="34" charset="0"/>
              </a:rPr>
              <a:t>разработки</a:t>
            </a:r>
            <a:endParaRPr lang="en-US" sz="1200" dirty="0">
              <a:solidFill>
                <a:schemeClr val="accent5">
                  <a:lumMod val="60000"/>
                  <a:lumOff val="40000"/>
                  <a:alpha val="35000"/>
                </a:schemeClr>
              </a:solidFill>
              <a:latin typeface="Manrope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FB076DC-8DD6-49B6-8DEF-82D84A689F14}"/>
              </a:ext>
            </a:extLst>
          </p:cNvPr>
          <p:cNvSpPr txBox="1"/>
          <p:nvPr/>
        </p:nvSpPr>
        <p:spPr>
          <a:xfrm>
            <a:off x="8828174" y="5813290"/>
            <a:ext cx="30706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u="sng" spc="800" dirty="0">
                <a:solidFill>
                  <a:schemeClr val="accent6"/>
                </a:soli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JS</a:t>
            </a:r>
            <a:r>
              <a:rPr lang="en-US" sz="3600" b="1" spc="800" dirty="0">
                <a:solidFill>
                  <a:schemeClr val="accent6"/>
                </a:soli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&amp;D</a:t>
            </a:r>
            <a:r>
              <a:rPr lang="en-US" sz="2800" b="1" spc="800" dirty="0">
                <a:solidFill>
                  <a:schemeClr val="accent6"/>
                </a:soli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   </a:t>
            </a:r>
            <a:r>
              <a:rPr lang="en-US" sz="3600" b="1" spc="800" dirty="0">
                <a:solidFill>
                  <a:schemeClr val="accent6"/>
                </a:soli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M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5E452EC-F554-48E3-B786-A5115346EFFD}"/>
              </a:ext>
            </a:extLst>
          </p:cNvPr>
          <p:cNvSpPr txBox="1"/>
          <p:nvPr/>
        </p:nvSpPr>
        <p:spPr>
          <a:xfrm rot="16200000">
            <a:off x="10522841" y="5474596"/>
            <a:ext cx="402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pc="600" dirty="0">
                <a:solidFill>
                  <a:schemeClr val="accent6"/>
                </a:solidFill>
                <a:latin typeface="Manrope" pitchFamily="2" charset="0"/>
                <a:ea typeface="Inter" panose="02000503000000020004" pitchFamily="2" charset="0"/>
                <a:cs typeface="Arial" panose="020B0604020202020204" pitchFamily="34" charset="0"/>
              </a:rPr>
              <a:t>❱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9F7A5D8-646D-4B76-BD46-51A424D1A7D5}"/>
              </a:ext>
            </a:extLst>
          </p:cNvPr>
          <p:cNvSpPr/>
          <p:nvPr/>
        </p:nvSpPr>
        <p:spPr>
          <a:xfrm>
            <a:off x="10520211" y="5917160"/>
            <a:ext cx="397809" cy="397809"/>
          </a:xfrm>
          <a:prstGeom prst="ellipse">
            <a:avLst/>
          </a:prstGeom>
          <a:noFill/>
          <a:ln w="539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68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900" fill="hold"/>
                                        <p:tgtEl>
                                          <p:spTgt spid="2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5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750" fill="hold"/>
                                        <p:tgtEl>
                                          <p:spTgt spid="1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820" fill="hold"/>
                                        <p:tgtEl>
                                          <p:spTgt spid="2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animMotion origin="layout" path="M 2.29167E-6 1.85185E-6 L 0.48281 -0.01088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141" y="-556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grpId="0" nodeType="withEffect">
                                  <p:stCondLst>
                                    <p:cond delay="7250"/>
                                  </p:stCondLst>
                                  <p:childTnLst>
                                    <p:animMotion origin="layout" path="M 2.70833E-6 -2.59259E-6 L 2.70833E-6 -0.93565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67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11" grpId="0" animBg="1"/>
      <p:bldP spid="12" grpId="0" animBg="1"/>
      <p:bldP spid="18" grpId="0" animBg="1"/>
      <p:bldP spid="20" grpId="0" animBg="1"/>
      <p:bldP spid="24" grpId="0"/>
      <p:bldP spid="3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tangle 95">
            <a:extLst>
              <a:ext uri="{FF2B5EF4-FFF2-40B4-BE49-F238E27FC236}">
                <a16:creationId xmlns:a16="http://schemas.microsoft.com/office/drawing/2014/main" id="{1F968970-B8C7-4273-938A-433E0DD99CF8}"/>
              </a:ext>
            </a:extLst>
          </p:cNvPr>
          <p:cNvSpPr/>
          <p:nvPr/>
        </p:nvSpPr>
        <p:spPr>
          <a:xfrm>
            <a:off x="11995" y="0"/>
            <a:ext cx="12191998" cy="6858000"/>
          </a:xfrm>
          <a:prstGeom prst="rect">
            <a:avLst/>
          </a:prstGeom>
          <a:gradFill flip="none" rotWithShape="1">
            <a:gsLst>
              <a:gs pos="0">
                <a:srgbClr val="9000FF">
                  <a:alpha val="54000"/>
                </a:srgbClr>
              </a:gs>
              <a:gs pos="89000">
                <a:schemeClr val="tx1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67A53D1-EA5F-4E49-82F5-B6ABAC89B976}"/>
              </a:ext>
            </a:extLst>
          </p:cNvPr>
          <p:cNvGrpSpPr/>
          <p:nvPr/>
        </p:nvGrpSpPr>
        <p:grpSpPr>
          <a:xfrm>
            <a:off x="686445" y="5536554"/>
            <a:ext cx="818207" cy="691608"/>
            <a:chOff x="482273" y="5511430"/>
            <a:chExt cx="1085429" cy="917484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7710FE5-B384-4085-86BA-62C8F2004A3E}"/>
                </a:ext>
              </a:extLst>
            </p:cNvPr>
            <p:cNvSpPr/>
            <p:nvPr/>
          </p:nvSpPr>
          <p:spPr>
            <a:xfrm>
              <a:off x="482273" y="5511430"/>
              <a:ext cx="1085429" cy="917484"/>
            </a:xfrm>
            <a:prstGeom prst="roundRect">
              <a:avLst>
                <a:gd name="adj" fmla="val 29792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08000" rIns="108000" bIns="108000" rtlCol="0" anchor="b">
              <a:noAutofit/>
            </a:bodyPr>
            <a:lstStyle/>
            <a:p>
              <a:pPr algn="ctr"/>
              <a:r>
                <a:rPr lang="en-US" sz="1050" dirty="0">
                  <a:latin typeface="Manrope SemiBold" pitchFamily="2" charset="0"/>
                </a:rPr>
                <a:t>CSS</a:t>
              </a: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720D247A-88ED-420C-A0AB-33A49A9B9C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98987" y="5629640"/>
              <a:ext cx="252000" cy="2520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3512500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Где же этот </a:t>
            </a:r>
            <a:r>
              <a:rPr lang="en-US" sz="2800" spc="50" dirty="0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DOM</a:t>
            </a:r>
            <a:r>
              <a:rPr lang="ru-RU" sz="2800" spc="50" dirty="0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?</a:t>
            </a:r>
            <a:endParaRPr lang="en-RU" sz="2800" spc="50" dirty="0">
              <a:gradFill flip="none" rotWithShape="1">
                <a:gsLst>
                  <a:gs pos="0">
                    <a:srgbClr val="1A69DF"/>
                  </a:gs>
                  <a:gs pos="73000">
                    <a:srgbClr val="9000FF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FC4C10A-EA01-4197-8B9C-D13D6C1C27A3}"/>
              </a:ext>
            </a:extLst>
          </p:cNvPr>
          <p:cNvSpPr/>
          <p:nvPr/>
        </p:nvSpPr>
        <p:spPr>
          <a:xfrm>
            <a:off x="5240242" y="613029"/>
            <a:ext cx="1756905" cy="1078627"/>
          </a:xfrm>
          <a:custGeom>
            <a:avLst/>
            <a:gdLst>
              <a:gd name="connsiteX0" fmla="*/ 0 w 1548778"/>
              <a:gd name="connsiteY0" fmla="*/ 181452 h 909669"/>
              <a:gd name="connsiteX1" fmla="*/ 181452 w 1548778"/>
              <a:gd name="connsiteY1" fmla="*/ 0 h 909669"/>
              <a:gd name="connsiteX2" fmla="*/ 1367326 w 1548778"/>
              <a:gd name="connsiteY2" fmla="*/ 0 h 909669"/>
              <a:gd name="connsiteX3" fmla="*/ 1548778 w 1548778"/>
              <a:gd name="connsiteY3" fmla="*/ 181452 h 909669"/>
              <a:gd name="connsiteX4" fmla="*/ 1548778 w 1548778"/>
              <a:gd name="connsiteY4" fmla="*/ 728217 h 909669"/>
              <a:gd name="connsiteX5" fmla="*/ 1367326 w 1548778"/>
              <a:gd name="connsiteY5" fmla="*/ 909669 h 909669"/>
              <a:gd name="connsiteX6" fmla="*/ 181452 w 1548778"/>
              <a:gd name="connsiteY6" fmla="*/ 909669 h 909669"/>
              <a:gd name="connsiteX7" fmla="*/ 0 w 1548778"/>
              <a:gd name="connsiteY7" fmla="*/ 728217 h 909669"/>
              <a:gd name="connsiteX8" fmla="*/ 0 w 1548778"/>
              <a:gd name="connsiteY8" fmla="*/ 181452 h 909669"/>
              <a:gd name="connsiteX0" fmla="*/ 0 w 1548778"/>
              <a:gd name="connsiteY0" fmla="*/ 192930 h 921147"/>
              <a:gd name="connsiteX1" fmla="*/ 181452 w 1548778"/>
              <a:gd name="connsiteY1" fmla="*/ 11478 h 921147"/>
              <a:gd name="connsiteX2" fmla="*/ 767382 w 1548778"/>
              <a:gd name="connsiteY2" fmla="*/ 0 h 921147"/>
              <a:gd name="connsiteX3" fmla="*/ 1367326 w 1548778"/>
              <a:gd name="connsiteY3" fmla="*/ 11478 h 921147"/>
              <a:gd name="connsiteX4" fmla="*/ 1548778 w 1548778"/>
              <a:gd name="connsiteY4" fmla="*/ 192930 h 921147"/>
              <a:gd name="connsiteX5" fmla="*/ 1548778 w 1548778"/>
              <a:gd name="connsiteY5" fmla="*/ 739695 h 921147"/>
              <a:gd name="connsiteX6" fmla="*/ 1367326 w 1548778"/>
              <a:gd name="connsiteY6" fmla="*/ 921147 h 921147"/>
              <a:gd name="connsiteX7" fmla="*/ 181452 w 1548778"/>
              <a:gd name="connsiteY7" fmla="*/ 921147 h 921147"/>
              <a:gd name="connsiteX8" fmla="*/ 0 w 1548778"/>
              <a:gd name="connsiteY8" fmla="*/ 739695 h 921147"/>
              <a:gd name="connsiteX9" fmla="*/ 0 w 1548778"/>
              <a:gd name="connsiteY9" fmla="*/ 192930 h 921147"/>
              <a:gd name="connsiteX0" fmla="*/ 0 w 1548778"/>
              <a:gd name="connsiteY0" fmla="*/ 416450 h 1144667"/>
              <a:gd name="connsiteX1" fmla="*/ 181452 w 1548778"/>
              <a:gd name="connsiteY1" fmla="*/ 234998 h 1144667"/>
              <a:gd name="connsiteX2" fmla="*/ 752142 w 1548778"/>
              <a:gd name="connsiteY2" fmla="*/ 0 h 1144667"/>
              <a:gd name="connsiteX3" fmla="*/ 1367326 w 1548778"/>
              <a:gd name="connsiteY3" fmla="*/ 234998 h 1144667"/>
              <a:gd name="connsiteX4" fmla="*/ 1548778 w 1548778"/>
              <a:gd name="connsiteY4" fmla="*/ 416450 h 1144667"/>
              <a:gd name="connsiteX5" fmla="*/ 1548778 w 1548778"/>
              <a:gd name="connsiteY5" fmla="*/ 963215 h 1144667"/>
              <a:gd name="connsiteX6" fmla="*/ 1367326 w 1548778"/>
              <a:gd name="connsiteY6" fmla="*/ 1144667 h 1144667"/>
              <a:gd name="connsiteX7" fmla="*/ 181452 w 1548778"/>
              <a:gd name="connsiteY7" fmla="*/ 1144667 h 1144667"/>
              <a:gd name="connsiteX8" fmla="*/ 0 w 1548778"/>
              <a:gd name="connsiteY8" fmla="*/ 963215 h 1144667"/>
              <a:gd name="connsiteX9" fmla="*/ 0 w 1548778"/>
              <a:gd name="connsiteY9" fmla="*/ 416450 h 1144667"/>
              <a:gd name="connsiteX0" fmla="*/ 0 w 1548778"/>
              <a:gd name="connsiteY0" fmla="*/ 350410 h 1078627"/>
              <a:gd name="connsiteX1" fmla="*/ 181452 w 1548778"/>
              <a:gd name="connsiteY1" fmla="*/ 168958 h 1078627"/>
              <a:gd name="connsiteX2" fmla="*/ 741982 w 1548778"/>
              <a:gd name="connsiteY2" fmla="*/ 0 h 1078627"/>
              <a:gd name="connsiteX3" fmla="*/ 1367326 w 1548778"/>
              <a:gd name="connsiteY3" fmla="*/ 168958 h 1078627"/>
              <a:gd name="connsiteX4" fmla="*/ 1548778 w 1548778"/>
              <a:gd name="connsiteY4" fmla="*/ 350410 h 1078627"/>
              <a:gd name="connsiteX5" fmla="*/ 1548778 w 1548778"/>
              <a:gd name="connsiteY5" fmla="*/ 897175 h 1078627"/>
              <a:gd name="connsiteX6" fmla="*/ 1367326 w 1548778"/>
              <a:gd name="connsiteY6" fmla="*/ 1078627 h 1078627"/>
              <a:gd name="connsiteX7" fmla="*/ 181452 w 1548778"/>
              <a:gd name="connsiteY7" fmla="*/ 1078627 h 1078627"/>
              <a:gd name="connsiteX8" fmla="*/ 0 w 1548778"/>
              <a:gd name="connsiteY8" fmla="*/ 897175 h 1078627"/>
              <a:gd name="connsiteX9" fmla="*/ 0 w 1548778"/>
              <a:gd name="connsiteY9" fmla="*/ 350410 h 1078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48778" h="1078627">
                <a:moveTo>
                  <a:pt x="0" y="350410"/>
                </a:moveTo>
                <a:cubicBezTo>
                  <a:pt x="0" y="250197"/>
                  <a:pt x="81239" y="168958"/>
                  <a:pt x="181452" y="168958"/>
                </a:cubicBezTo>
                <a:lnTo>
                  <a:pt x="741982" y="0"/>
                </a:lnTo>
                <a:lnTo>
                  <a:pt x="1367326" y="168958"/>
                </a:lnTo>
                <a:cubicBezTo>
                  <a:pt x="1467539" y="168958"/>
                  <a:pt x="1548778" y="250197"/>
                  <a:pt x="1548778" y="350410"/>
                </a:cubicBezTo>
                <a:lnTo>
                  <a:pt x="1548778" y="897175"/>
                </a:lnTo>
                <a:cubicBezTo>
                  <a:pt x="1548778" y="997388"/>
                  <a:pt x="1467539" y="1078627"/>
                  <a:pt x="1367326" y="1078627"/>
                </a:cubicBezTo>
                <a:lnTo>
                  <a:pt x="181452" y="1078627"/>
                </a:lnTo>
                <a:cubicBezTo>
                  <a:pt x="81239" y="1078627"/>
                  <a:pt x="0" y="997388"/>
                  <a:pt x="0" y="897175"/>
                </a:cubicBezTo>
                <a:lnTo>
                  <a:pt x="0" y="35041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72000" bIns="108000" rtlCol="0" anchor="b">
            <a:no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DOM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27CC7C6-DCF4-4F72-88C0-9F09F8CC71D6}"/>
              </a:ext>
            </a:extLst>
          </p:cNvPr>
          <p:cNvSpPr/>
          <p:nvPr/>
        </p:nvSpPr>
        <p:spPr>
          <a:xfrm>
            <a:off x="5240242" y="2322229"/>
            <a:ext cx="1756905" cy="917484"/>
          </a:xfrm>
          <a:prstGeom prst="roundRect">
            <a:avLst>
              <a:gd name="adj" fmla="val 20978"/>
            </a:avLst>
          </a:prstGeom>
          <a:solidFill>
            <a:srgbClr val="9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72000" bIns="108000" rtlCol="0" anchor="b">
            <a:no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DOM Tre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25F1D92-4F82-40ED-841F-528D81423992}"/>
              </a:ext>
            </a:extLst>
          </p:cNvPr>
          <p:cNvSpPr/>
          <p:nvPr/>
        </p:nvSpPr>
        <p:spPr>
          <a:xfrm>
            <a:off x="5240242" y="3870286"/>
            <a:ext cx="1756906" cy="917484"/>
          </a:xfrm>
          <a:prstGeom prst="roundRect">
            <a:avLst>
              <a:gd name="adj" fmla="val 20978"/>
            </a:avLst>
          </a:prstGeom>
          <a:solidFill>
            <a:srgbClr val="3558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72000" bIns="108000" rtlCol="0" anchor="b">
            <a:no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Attachmen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45E812C-51B4-43A9-A0C5-78FBF1CD5551}"/>
              </a:ext>
            </a:extLst>
          </p:cNvPr>
          <p:cNvSpPr/>
          <p:nvPr/>
        </p:nvSpPr>
        <p:spPr>
          <a:xfrm>
            <a:off x="5240242" y="5418344"/>
            <a:ext cx="1756905" cy="917484"/>
          </a:xfrm>
          <a:prstGeom prst="roundRect">
            <a:avLst>
              <a:gd name="adj" fmla="val 20978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72000" bIns="108000" rtlCol="0" anchor="b">
            <a:no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Style DOM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8F294B1-AAA9-4028-B1EF-9D399441ED1C}"/>
              </a:ext>
            </a:extLst>
          </p:cNvPr>
          <p:cNvSpPr/>
          <p:nvPr/>
        </p:nvSpPr>
        <p:spPr>
          <a:xfrm>
            <a:off x="3065158" y="5418344"/>
            <a:ext cx="1602059" cy="917484"/>
          </a:xfrm>
          <a:prstGeom prst="roundRect">
            <a:avLst>
              <a:gd name="adj" fmla="val 20978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72000" bIns="108000" rtlCol="0" anchor="b">
            <a:no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Style Parser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B305DD3-76DB-44C0-A288-C17691CF9D22}"/>
              </a:ext>
            </a:extLst>
          </p:cNvPr>
          <p:cNvSpPr/>
          <p:nvPr/>
        </p:nvSpPr>
        <p:spPr>
          <a:xfrm>
            <a:off x="1329282" y="5418344"/>
            <a:ext cx="1085429" cy="917484"/>
          </a:xfrm>
          <a:prstGeom prst="roundRect">
            <a:avLst>
              <a:gd name="adj" fmla="val 20978"/>
            </a:avLst>
          </a:prstGeom>
          <a:solidFill>
            <a:schemeClr val="accent5"/>
          </a:solidFill>
          <a:ln>
            <a:noFill/>
          </a:ln>
          <a:effectLst>
            <a:outerShdw blurRad="4191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72000" bIns="108000" rtlCol="0" anchor="b">
            <a:no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CS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11C2327-7D74-4E4B-8D2F-EF39CC1FB6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92694" y="980914"/>
            <a:ext cx="252000" cy="252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7F145B0-377F-4A62-98F9-20B42876228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92694" y="2541331"/>
            <a:ext cx="252000" cy="2520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FD062F1A-90E1-4DF1-A2BE-034876CA7F9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92694" y="4045198"/>
            <a:ext cx="252000" cy="2520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C90A7D8A-4F6D-47BE-8E69-C43BF7319B8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740187" y="5536554"/>
            <a:ext cx="252000" cy="2520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EC30E2A9-B7C3-49C3-A75E-367CE1D6DA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45996" y="5536554"/>
            <a:ext cx="252000" cy="25200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4A1FD069-D476-4280-9553-417E101DC1D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92694" y="5527873"/>
            <a:ext cx="252000" cy="252000"/>
          </a:xfrm>
          <a:prstGeom prst="rect">
            <a:avLst/>
          </a:prstGeom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99736693-EDEA-46CA-8303-92A7B38EB037}"/>
              </a:ext>
            </a:extLst>
          </p:cNvPr>
          <p:cNvSpPr/>
          <p:nvPr/>
        </p:nvSpPr>
        <p:spPr>
          <a:xfrm>
            <a:off x="3065157" y="2320544"/>
            <a:ext cx="1602059" cy="917484"/>
          </a:xfrm>
          <a:prstGeom prst="roundRect">
            <a:avLst>
              <a:gd name="adj" fmla="val 20978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72000" bIns="108000" rtlCol="0" anchor="b">
            <a:no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HTML Parser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2E1CC4B-EAC4-48DB-B6A8-9AACAF207632}"/>
              </a:ext>
            </a:extLst>
          </p:cNvPr>
          <p:cNvSpPr/>
          <p:nvPr/>
        </p:nvSpPr>
        <p:spPr>
          <a:xfrm>
            <a:off x="1329281" y="2320544"/>
            <a:ext cx="1085429" cy="917484"/>
          </a:xfrm>
          <a:prstGeom prst="roundRect">
            <a:avLst>
              <a:gd name="adj" fmla="val 20978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72000" bIns="108000" rtlCol="0" anchor="b">
            <a:no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HTML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01D519BD-E960-4856-832E-9933F3B3825C}"/>
              </a:ext>
            </a:extLst>
          </p:cNvPr>
          <p:cNvSpPr/>
          <p:nvPr/>
        </p:nvSpPr>
        <p:spPr>
          <a:xfrm>
            <a:off x="7570173" y="3870286"/>
            <a:ext cx="1602059" cy="917484"/>
          </a:xfrm>
          <a:prstGeom prst="roundRect">
            <a:avLst>
              <a:gd name="adj" fmla="val 20978"/>
            </a:avLst>
          </a:prstGeom>
          <a:solidFill>
            <a:srgbClr val="3558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72000" bIns="108000" rtlCol="0" anchor="b">
            <a:no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Render tree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37163B1-C939-405E-BC0E-014319A48F96}"/>
              </a:ext>
            </a:extLst>
          </p:cNvPr>
          <p:cNvSpPr/>
          <p:nvPr/>
        </p:nvSpPr>
        <p:spPr>
          <a:xfrm>
            <a:off x="7570173" y="2322229"/>
            <a:ext cx="1602059" cy="917484"/>
          </a:xfrm>
          <a:prstGeom prst="roundRect">
            <a:avLst>
              <a:gd name="adj" fmla="val 20978"/>
            </a:avLst>
          </a:prstGeom>
          <a:solidFill>
            <a:srgbClr val="1A6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72000" bIns="108000" rtlCol="0" anchor="b">
            <a:no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Layout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567AEA8-1258-44FF-8F78-CE8EEE707EA2}"/>
              </a:ext>
            </a:extLst>
          </p:cNvPr>
          <p:cNvSpPr/>
          <p:nvPr/>
        </p:nvSpPr>
        <p:spPr>
          <a:xfrm>
            <a:off x="9745257" y="3870286"/>
            <a:ext cx="1602059" cy="917484"/>
          </a:xfrm>
          <a:prstGeom prst="roundRect">
            <a:avLst>
              <a:gd name="adj" fmla="val 20978"/>
            </a:avLst>
          </a:prstGeom>
          <a:solidFill>
            <a:srgbClr val="3558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72000" bIns="108000" rtlCol="0" anchor="b">
            <a:no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Painting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4D077E06-FAFA-475E-A8BD-F24643D6E5F1}"/>
              </a:ext>
            </a:extLst>
          </p:cNvPr>
          <p:cNvSpPr/>
          <p:nvPr/>
        </p:nvSpPr>
        <p:spPr>
          <a:xfrm>
            <a:off x="9745257" y="5418344"/>
            <a:ext cx="1602059" cy="917484"/>
          </a:xfrm>
          <a:prstGeom prst="roundRect">
            <a:avLst>
              <a:gd name="adj" fmla="val 2097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72000" bIns="108000" rtlCol="0" anchor="b">
            <a:no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Display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DDFE4138-F1F8-4F69-AFE7-45E1A49D3D8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740186" y="2495456"/>
            <a:ext cx="252000" cy="2520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AB298ADA-8D2F-4646-9DFC-C61475BF126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745995" y="2495456"/>
            <a:ext cx="252000" cy="2520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2082B9A2-1673-4A15-9EC7-D99F4149A47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245202" y="4045198"/>
            <a:ext cx="252000" cy="2520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5C0CD1EE-76FB-48DA-8E59-9B2240B1870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384286" y="5558642"/>
            <a:ext cx="324000" cy="324000"/>
          </a:xfrm>
          <a:prstGeom prst="rect">
            <a:avLst/>
          </a:prstGeom>
        </p:spPr>
      </p:pic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DE82373-60AB-4E27-9C00-65C23E6A9977}"/>
              </a:ext>
            </a:extLst>
          </p:cNvPr>
          <p:cNvCxnSpPr>
            <a:cxnSpLocks/>
            <a:stCxn id="5" idx="0"/>
          </p:cNvCxnSpPr>
          <p:nvPr/>
        </p:nvCxnSpPr>
        <p:spPr>
          <a:xfrm flipV="1">
            <a:off x="6118695" y="1691656"/>
            <a:ext cx="0" cy="630573"/>
          </a:xfrm>
          <a:prstGeom prst="straightConnector1">
            <a:avLst/>
          </a:prstGeom>
          <a:ln w="25400">
            <a:gradFill>
              <a:gsLst>
                <a:gs pos="100000">
                  <a:schemeClr val="accent1"/>
                </a:gs>
                <a:gs pos="0">
                  <a:schemeClr val="accent3"/>
                </a:gs>
              </a:gsLst>
              <a:lin ang="5400000" scaled="1"/>
            </a:gra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10F12AEB-E1CB-4686-9C7C-FCB136231B0F}"/>
              </a:ext>
            </a:extLst>
          </p:cNvPr>
          <p:cNvCxnSpPr>
            <a:cxnSpLocks/>
            <a:stCxn id="6" idx="0"/>
            <a:endCxn id="5" idx="2"/>
          </p:cNvCxnSpPr>
          <p:nvPr/>
        </p:nvCxnSpPr>
        <p:spPr>
          <a:xfrm flipV="1">
            <a:off x="6118695" y="3239713"/>
            <a:ext cx="0" cy="630573"/>
          </a:xfrm>
          <a:prstGeom prst="straightConnector1">
            <a:avLst/>
          </a:prstGeom>
          <a:ln w="25400">
            <a:gradFill>
              <a:gsLst>
                <a:gs pos="100000">
                  <a:schemeClr val="accent3"/>
                </a:gs>
                <a:gs pos="0">
                  <a:srgbClr val="35586F"/>
                </a:gs>
              </a:gsLst>
              <a:lin ang="5400000" scaled="1"/>
            </a:gra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D5A41E10-5C66-4310-827E-24933BFF699F}"/>
              </a:ext>
            </a:extLst>
          </p:cNvPr>
          <p:cNvCxnSpPr>
            <a:cxnSpLocks/>
            <a:stCxn id="5" idx="1"/>
            <a:endCxn id="26" idx="3"/>
          </p:cNvCxnSpPr>
          <p:nvPr/>
        </p:nvCxnSpPr>
        <p:spPr>
          <a:xfrm flipH="1" flipV="1">
            <a:off x="4667216" y="2779286"/>
            <a:ext cx="573026" cy="1685"/>
          </a:xfrm>
          <a:prstGeom prst="straightConnector1">
            <a:avLst/>
          </a:prstGeom>
          <a:ln w="25400">
            <a:gradFill>
              <a:gsLst>
                <a:gs pos="100000">
                  <a:schemeClr val="accent5"/>
                </a:gs>
                <a:gs pos="0">
                  <a:schemeClr val="accent3"/>
                </a:gs>
              </a:gsLst>
              <a:lin ang="0" scaled="0"/>
            </a:gra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2785C419-C3F8-4DCD-A5A0-F6F3DC4936B8}"/>
              </a:ext>
            </a:extLst>
          </p:cNvPr>
          <p:cNvCxnSpPr>
            <a:cxnSpLocks/>
            <a:stCxn id="26" idx="1"/>
            <a:endCxn id="27" idx="3"/>
          </p:cNvCxnSpPr>
          <p:nvPr/>
        </p:nvCxnSpPr>
        <p:spPr>
          <a:xfrm flipH="1">
            <a:off x="2414710" y="2779286"/>
            <a:ext cx="650447" cy="0"/>
          </a:xfrm>
          <a:prstGeom prst="straightConnector1">
            <a:avLst/>
          </a:prstGeom>
          <a:ln w="25400">
            <a:solidFill>
              <a:schemeClr val="accent5"/>
            </a:soli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B9DA55B-BA11-44AD-9725-F5B48B591FC3}"/>
              </a:ext>
            </a:extLst>
          </p:cNvPr>
          <p:cNvCxnSpPr>
            <a:cxnSpLocks/>
            <a:stCxn id="8" idx="1"/>
            <a:endCxn id="9" idx="3"/>
          </p:cNvCxnSpPr>
          <p:nvPr/>
        </p:nvCxnSpPr>
        <p:spPr>
          <a:xfrm flipH="1">
            <a:off x="2414711" y="5877086"/>
            <a:ext cx="650447" cy="0"/>
          </a:xfrm>
          <a:prstGeom prst="straightConnector1">
            <a:avLst/>
          </a:prstGeom>
          <a:ln w="25400">
            <a:solidFill>
              <a:srgbClr val="35586F"/>
            </a:soli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577FB4CB-E852-423D-86A6-3C7AB9698FC6}"/>
              </a:ext>
            </a:extLst>
          </p:cNvPr>
          <p:cNvCxnSpPr>
            <a:cxnSpLocks/>
            <a:stCxn id="28" idx="1"/>
            <a:endCxn id="6" idx="3"/>
          </p:cNvCxnSpPr>
          <p:nvPr/>
        </p:nvCxnSpPr>
        <p:spPr>
          <a:xfrm flipH="1">
            <a:off x="6997148" y="4329028"/>
            <a:ext cx="573025" cy="0"/>
          </a:xfrm>
          <a:prstGeom prst="straightConnector1">
            <a:avLst/>
          </a:prstGeom>
          <a:ln w="25400">
            <a:solidFill>
              <a:srgbClr val="35586F"/>
            </a:soli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5A8C3BF0-96E8-4B7D-ABAC-C28CEF25999F}"/>
              </a:ext>
            </a:extLst>
          </p:cNvPr>
          <p:cNvCxnSpPr>
            <a:cxnSpLocks/>
            <a:stCxn id="30" idx="1"/>
            <a:endCxn id="28" idx="3"/>
          </p:cNvCxnSpPr>
          <p:nvPr/>
        </p:nvCxnSpPr>
        <p:spPr>
          <a:xfrm flipH="1">
            <a:off x="9172232" y="4329028"/>
            <a:ext cx="573025" cy="0"/>
          </a:xfrm>
          <a:prstGeom prst="straightConnector1">
            <a:avLst/>
          </a:prstGeom>
          <a:ln w="25400">
            <a:solidFill>
              <a:srgbClr val="35586F"/>
            </a:soli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C50CE4B5-0BD3-4D63-83D4-B93429DE2CB0}"/>
              </a:ext>
            </a:extLst>
          </p:cNvPr>
          <p:cNvCxnSpPr>
            <a:cxnSpLocks/>
            <a:stCxn id="28" idx="0"/>
            <a:endCxn id="29" idx="2"/>
          </p:cNvCxnSpPr>
          <p:nvPr/>
        </p:nvCxnSpPr>
        <p:spPr>
          <a:xfrm flipV="1">
            <a:off x="8371203" y="3239713"/>
            <a:ext cx="0" cy="630573"/>
          </a:xfrm>
          <a:prstGeom prst="straightConnector1">
            <a:avLst/>
          </a:prstGeom>
          <a:ln w="25400">
            <a:solidFill>
              <a:srgbClr val="35586F"/>
            </a:solidFill>
            <a:headEnd type="arrow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5178024E-5440-4D20-BDFF-F17915AA5393}"/>
              </a:ext>
            </a:extLst>
          </p:cNvPr>
          <p:cNvCxnSpPr>
            <a:cxnSpLocks/>
            <a:stCxn id="7" idx="1"/>
            <a:endCxn id="8" idx="3"/>
          </p:cNvCxnSpPr>
          <p:nvPr/>
        </p:nvCxnSpPr>
        <p:spPr>
          <a:xfrm flipH="1">
            <a:off x="4667217" y="5877086"/>
            <a:ext cx="573025" cy="0"/>
          </a:xfrm>
          <a:prstGeom prst="straightConnector1">
            <a:avLst/>
          </a:prstGeom>
          <a:ln w="25400">
            <a:solidFill>
              <a:srgbClr val="35586F"/>
            </a:soli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1A2CE376-DC92-4811-85D2-C8ED2DC3AAA1}"/>
              </a:ext>
            </a:extLst>
          </p:cNvPr>
          <p:cNvCxnSpPr>
            <a:cxnSpLocks/>
            <a:stCxn id="7" idx="0"/>
            <a:endCxn id="6" idx="2"/>
          </p:cNvCxnSpPr>
          <p:nvPr/>
        </p:nvCxnSpPr>
        <p:spPr>
          <a:xfrm flipV="1">
            <a:off x="6118695" y="4787770"/>
            <a:ext cx="0" cy="630574"/>
          </a:xfrm>
          <a:prstGeom prst="straightConnector1">
            <a:avLst/>
          </a:prstGeom>
          <a:ln w="25400">
            <a:gradFill>
              <a:gsLst>
                <a:gs pos="100000">
                  <a:srgbClr val="35586F"/>
                </a:gs>
                <a:gs pos="0">
                  <a:schemeClr val="accent5"/>
                </a:gs>
              </a:gsLst>
              <a:lin ang="5400000" scaled="1"/>
            </a:gra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9623A056-8DDB-4C51-82BC-AD15F9C947A3}"/>
              </a:ext>
            </a:extLst>
          </p:cNvPr>
          <p:cNvCxnSpPr>
            <a:cxnSpLocks/>
            <a:stCxn id="31" idx="0"/>
            <a:endCxn id="30" idx="2"/>
          </p:cNvCxnSpPr>
          <p:nvPr/>
        </p:nvCxnSpPr>
        <p:spPr>
          <a:xfrm flipV="1">
            <a:off x="10546287" y="4787770"/>
            <a:ext cx="0" cy="630574"/>
          </a:xfrm>
          <a:prstGeom prst="straightConnector1">
            <a:avLst/>
          </a:prstGeom>
          <a:ln w="25400">
            <a:gradFill>
              <a:gsLst>
                <a:gs pos="100000">
                  <a:srgbClr val="35586F"/>
                </a:gs>
                <a:gs pos="0">
                  <a:srgbClr val="00B050"/>
                </a:gs>
              </a:gsLst>
              <a:lin ang="5400000" scaled="1"/>
            </a:gra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Picture 92">
            <a:extLst>
              <a:ext uri="{FF2B5EF4-FFF2-40B4-BE49-F238E27FC236}">
                <a16:creationId xmlns:a16="http://schemas.microsoft.com/office/drawing/2014/main" id="{ADF64E16-F237-4794-B1CF-F6D772E6B29D}"/>
              </a:ext>
            </a:extLst>
          </p:cNvPr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422823" y="4140332"/>
            <a:ext cx="246926" cy="61732"/>
          </a:xfrm>
          <a:prstGeom prst="rect">
            <a:avLst/>
          </a:prstGeom>
        </p:spPr>
      </p:pic>
      <p:pic>
        <p:nvPicPr>
          <p:cNvPr id="95" name="Graphic 94">
            <a:extLst>
              <a:ext uri="{FF2B5EF4-FFF2-40B4-BE49-F238E27FC236}">
                <a16:creationId xmlns:a16="http://schemas.microsoft.com/office/drawing/2014/main" id="{456BC735-EFC0-4293-8254-A9831711B6CB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8245202" y="2543550"/>
            <a:ext cx="252000" cy="252000"/>
          </a:xfrm>
          <a:prstGeom prst="rect">
            <a:avLst/>
          </a:prstGeom>
        </p:spPr>
      </p:pic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27E844DC-4C11-40DE-916F-64648A6A3894}"/>
              </a:ext>
            </a:extLst>
          </p:cNvPr>
          <p:cNvSpPr/>
          <p:nvPr/>
        </p:nvSpPr>
        <p:spPr>
          <a:xfrm>
            <a:off x="6652280" y="661811"/>
            <a:ext cx="1956590" cy="357290"/>
          </a:xfrm>
          <a:prstGeom prst="roundRect">
            <a:avLst>
              <a:gd name="adj" fmla="val 20978"/>
            </a:avLst>
          </a:prstGeom>
          <a:solidFill>
            <a:schemeClr val="accent5">
              <a:lumMod val="5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72000" rIns="144000" bIns="72000" rtlCol="0" anchor="b">
            <a:spAutoFit/>
          </a:bodyPr>
          <a:lstStyle/>
          <a:p>
            <a:r>
              <a:rPr lang="en-US" sz="1100" dirty="0">
                <a:solidFill>
                  <a:schemeClr val="bg1">
                    <a:alpha val="30000"/>
                  </a:schemeClr>
                </a:solidFill>
                <a:latin typeface="Manrope SemiBold" pitchFamily="2" charset="0"/>
              </a:rPr>
              <a:t>Document Object Model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EB5A6BC5-B825-4F49-B1D5-BE3E038FD132}"/>
              </a:ext>
            </a:extLst>
          </p:cNvPr>
          <p:cNvSpPr/>
          <p:nvPr/>
        </p:nvSpPr>
        <p:spPr>
          <a:xfrm rot="18900000">
            <a:off x="6677845" y="1247105"/>
            <a:ext cx="142933" cy="174564"/>
          </a:xfrm>
          <a:custGeom>
            <a:avLst/>
            <a:gdLst>
              <a:gd name="connsiteX0" fmla="*/ 0 w 194310"/>
              <a:gd name="connsiteY0" fmla="*/ 266700 h 266700"/>
              <a:gd name="connsiteX1" fmla="*/ 97155 w 194310"/>
              <a:gd name="connsiteY1" fmla="*/ 0 h 266700"/>
              <a:gd name="connsiteX2" fmla="*/ 194310 w 194310"/>
              <a:gd name="connsiteY2" fmla="*/ 266700 h 266700"/>
              <a:gd name="connsiteX3" fmla="*/ 0 w 194310"/>
              <a:gd name="connsiteY3" fmla="*/ 266700 h 266700"/>
              <a:gd name="connsiteX0" fmla="*/ 0 w 194310"/>
              <a:gd name="connsiteY0" fmla="*/ 266700 h 266700"/>
              <a:gd name="connsiteX1" fmla="*/ 97155 w 194310"/>
              <a:gd name="connsiteY1" fmla="*/ 0 h 266700"/>
              <a:gd name="connsiteX2" fmla="*/ 194310 w 194310"/>
              <a:gd name="connsiteY2" fmla="*/ 266700 h 266700"/>
              <a:gd name="connsiteX3" fmla="*/ 97155 w 194310"/>
              <a:gd name="connsiteY3" fmla="*/ 266700 h 266700"/>
              <a:gd name="connsiteX4" fmla="*/ 0 w 194310"/>
              <a:gd name="connsiteY4" fmla="*/ 266700 h 266700"/>
              <a:gd name="connsiteX0" fmla="*/ 0 w 194310"/>
              <a:gd name="connsiteY0" fmla="*/ 266700 h 266700"/>
              <a:gd name="connsiteX1" fmla="*/ 97155 w 194310"/>
              <a:gd name="connsiteY1" fmla="*/ 0 h 266700"/>
              <a:gd name="connsiteX2" fmla="*/ 194310 w 194310"/>
              <a:gd name="connsiteY2" fmla="*/ 266700 h 266700"/>
              <a:gd name="connsiteX3" fmla="*/ 104775 w 194310"/>
              <a:gd name="connsiteY3" fmla="*/ 220980 h 266700"/>
              <a:gd name="connsiteX4" fmla="*/ 0 w 194310"/>
              <a:gd name="connsiteY4" fmla="*/ 266700 h 266700"/>
              <a:gd name="connsiteX0" fmla="*/ 0 w 194310"/>
              <a:gd name="connsiteY0" fmla="*/ 266700 h 266700"/>
              <a:gd name="connsiteX1" fmla="*/ 97155 w 194310"/>
              <a:gd name="connsiteY1" fmla="*/ 0 h 266700"/>
              <a:gd name="connsiteX2" fmla="*/ 194310 w 194310"/>
              <a:gd name="connsiteY2" fmla="*/ 266700 h 266700"/>
              <a:gd name="connsiteX3" fmla="*/ 95802 w 194310"/>
              <a:gd name="connsiteY3" fmla="*/ 219540 h 266700"/>
              <a:gd name="connsiteX4" fmla="*/ 0 w 194310"/>
              <a:gd name="connsiteY4" fmla="*/ 266700 h 266700"/>
              <a:gd name="connsiteX0" fmla="*/ 0 w 194310"/>
              <a:gd name="connsiteY0" fmla="*/ 266700 h 266700"/>
              <a:gd name="connsiteX1" fmla="*/ 97155 w 194310"/>
              <a:gd name="connsiteY1" fmla="*/ 0 h 266700"/>
              <a:gd name="connsiteX2" fmla="*/ 194310 w 194310"/>
              <a:gd name="connsiteY2" fmla="*/ 266700 h 266700"/>
              <a:gd name="connsiteX3" fmla="*/ 100929 w 194310"/>
              <a:gd name="connsiteY3" fmla="*/ 225302 h 266700"/>
              <a:gd name="connsiteX4" fmla="*/ 0 w 194310"/>
              <a:gd name="connsiteY4" fmla="*/ 266700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4310" h="266700">
                <a:moveTo>
                  <a:pt x="0" y="266700"/>
                </a:moveTo>
                <a:lnTo>
                  <a:pt x="97155" y="0"/>
                </a:lnTo>
                <a:lnTo>
                  <a:pt x="194310" y="266700"/>
                </a:lnTo>
                <a:lnTo>
                  <a:pt x="100929" y="225302"/>
                </a:lnTo>
                <a:lnTo>
                  <a:pt x="0" y="266700"/>
                </a:lnTo>
                <a:close/>
              </a:path>
            </a:pathLst>
          </a:custGeom>
          <a:solidFill>
            <a:schemeClr val="tx1"/>
          </a:solidFill>
          <a:ln w="12700">
            <a:solidFill>
              <a:schemeClr val="accent2">
                <a:lumMod val="90000"/>
              </a:schemeClr>
            </a:solidFill>
            <a:round/>
          </a:ln>
          <a:effectLst>
            <a:outerShdw blurRad="76200" dist="63500" dir="8100000" algn="tr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4157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Picture 86">
            <a:extLst>
              <a:ext uri="{FF2B5EF4-FFF2-40B4-BE49-F238E27FC236}">
                <a16:creationId xmlns:a16="http://schemas.microsoft.com/office/drawing/2014/main" id="{4DAF4E60-2309-4902-860A-E986622FEA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304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04"/>
            <a:ext cx="8961120" cy="6859804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0B11997A-6547-48F7-B175-C2EADCC19DBD}"/>
              </a:ext>
            </a:extLst>
          </p:cNvPr>
          <p:cNvSpPr/>
          <p:nvPr/>
        </p:nvSpPr>
        <p:spPr>
          <a:xfrm>
            <a:off x="1" y="0"/>
            <a:ext cx="12192000" cy="6857999"/>
          </a:xfrm>
          <a:prstGeom prst="rect">
            <a:avLst/>
          </a:prstGeom>
          <a:solidFill>
            <a:schemeClr val="tx1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F30A6503-74B9-432B-9DD2-E9BD748B263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1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86272" y="0"/>
            <a:ext cx="6808552" cy="63523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2760692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HTML     &gt; </a:t>
            </a:r>
            <a:r>
              <a:rPr lang="en-US" sz="2800" spc="50" dirty="0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DOM</a:t>
            </a:r>
            <a:endParaRPr lang="en-RU" sz="2800" spc="50" dirty="0">
              <a:gradFill flip="none" rotWithShape="1">
                <a:gsLst>
                  <a:gs pos="0">
                    <a:srgbClr val="1A69DF"/>
                  </a:gs>
                  <a:gs pos="73000">
                    <a:srgbClr val="9000FF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0D71E8-FC91-4E6A-8280-BE1F285A5186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853441" y="721994"/>
            <a:ext cx="308684" cy="77172"/>
          </a:xfrm>
          <a:prstGeom prst="rect">
            <a:avLst/>
          </a:prstGeom>
        </p:spPr>
      </p:pic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BE67B9DB-A517-4BF6-808A-CEE090C778D1}"/>
              </a:ext>
            </a:extLst>
          </p:cNvPr>
          <p:cNvSpPr/>
          <p:nvPr/>
        </p:nvSpPr>
        <p:spPr>
          <a:xfrm>
            <a:off x="7506474" y="1023332"/>
            <a:ext cx="1284074" cy="492255"/>
          </a:xfrm>
          <a:prstGeom prst="roundRect">
            <a:avLst>
              <a:gd name="adj" fmla="val 2097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tIns="108000" rIns="144000" bIns="108000" rtlCol="0" anchor="b">
            <a:sp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Document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2489FC83-93CE-4979-AA63-B0169C11CB3E}"/>
              </a:ext>
            </a:extLst>
          </p:cNvPr>
          <p:cNvSpPr/>
          <p:nvPr/>
        </p:nvSpPr>
        <p:spPr>
          <a:xfrm>
            <a:off x="7647257" y="2225099"/>
            <a:ext cx="1002509" cy="492255"/>
          </a:xfrm>
          <a:prstGeom prst="roundRect">
            <a:avLst>
              <a:gd name="adj" fmla="val 2097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tIns="108000" rIns="144000" bIns="108000" rtlCol="0" anchor="b">
            <a:sp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&lt;html&gt;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7790D31E-8DBA-438F-8807-2AF195B9894A}"/>
              </a:ext>
            </a:extLst>
          </p:cNvPr>
          <p:cNvSpPr/>
          <p:nvPr/>
        </p:nvSpPr>
        <p:spPr>
          <a:xfrm>
            <a:off x="9250524" y="3426866"/>
            <a:ext cx="1036429" cy="492255"/>
          </a:xfrm>
          <a:prstGeom prst="roundRect">
            <a:avLst>
              <a:gd name="adj" fmla="val 2097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tIns="108000" rIns="144000" bIns="108000" rtlCol="0" anchor="b">
            <a:sp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&lt;body&gt;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8D143D69-F27F-4EDA-9CC9-52D34CBFF617}"/>
              </a:ext>
            </a:extLst>
          </p:cNvPr>
          <p:cNvSpPr/>
          <p:nvPr/>
        </p:nvSpPr>
        <p:spPr>
          <a:xfrm>
            <a:off x="6151100" y="3475200"/>
            <a:ext cx="961804" cy="492255"/>
          </a:xfrm>
          <a:prstGeom prst="roundRect">
            <a:avLst>
              <a:gd name="adj" fmla="val 2097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tIns="108000" rIns="144000" bIns="108000" rtlCol="0" anchor="b">
            <a:sp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&lt;title&gt;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D9C2D87F-1B84-4889-87AF-38DE5703C16C}"/>
              </a:ext>
            </a:extLst>
          </p:cNvPr>
          <p:cNvSpPr/>
          <p:nvPr/>
        </p:nvSpPr>
        <p:spPr>
          <a:xfrm>
            <a:off x="10558535" y="4628632"/>
            <a:ext cx="862770" cy="492255"/>
          </a:xfrm>
          <a:prstGeom prst="roundRect">
            <a:avLst>
              <a:gd name="adj" fmla="val 20978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08000" rIns="144000" bIns="108000" rtlCol="0" anchor="b">
            <a:sp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&lt;div&gt;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4E42EB0E-7BD2-446E-B453-63F0CB1EEED8}"/>
              </a:ext>
            </a:extLst>
          </p:cNvPr>
          <p:cNvSpPr/>
          <p:nvPr/>
        </p:nvSpPr>
        <p:spPr>
          <a:xfrm>
            <a:off x="7882115" y="5830399"/>
            <a:ext cx="1535301" cy="492255"/>
          </a:xfrm>
          <a:prstGeom prst="roundRect">
            <a:avLst>
              <a:gd name="adj" fmla="val 2097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tIns="108000" rIns="144000" bIns="108000" rtlCol="0" anchor="b">
            <a:sp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&lt;Demo Text&gt;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C07BF725-6D79-4EB7-8C72-F0D5FEB1EA3F}"/>
              </a:ext>
            </a:extLst>
          </p:cNvPr>
          <p:cNvSpPr/>
          <p:nvPr/>
        </p:nvSpPr>
        <p:spPr>
          <a:xfrm>
            <a:off x="8288980" y="4628633"/>
            <a:ext cx="721572" cy="492255"/>
          </a:xfrm>
          <a:prstGeom prst="roundRect">
            <a:avLst>
              <a:gd name="adj" fmla="val 20978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tIns="108000" rIns="144000" bIns="108000" rtlCol="0" anchor="b">
            <a:sp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&lt;p&gt;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841BDAF9-D206-418D-8235-0904971BD682}"/>
              </a:ext>
            </a:extLst>
          </p:cNvPr>
          <p:cNvSpPr/>
          <p:nvPr/>
        </p:nvSpPr>
        <p:spPr>
          <a:xfrm>
            <a:off x="10534574" y="5830400"/>
            <a:ext cx="910692" cy="492255"/>
          </a:xfrm>
          <a:prstGeom prst="roundRect">
            <a:avLst>
              <a:gd name="adj" fmla="val 2097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tIns="108000" rIns="144000" bIns="108000" rtlCol="0" anchor="b">
            <a:sp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image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FBB3CAB3-28A7-4058-ACA3-C828FBAF8896}"/>
              </a:ext>
            </a:extLst>
          </p:cNvPr>
          <p:cNvSpPr/>
          <p:nvPr/>
        </p:nvSpPr>
        <p:spPr>
          <a:xfrm>
            <a:off x="6168098" y="4628632"/>
            <a:ext cx="927807" cy="492255"/>
          </a:xfrm>
          <a:prstGeom prst="roundRect">
            <a:avLst>
              <a:gd name="adj" fmla="val 2097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tIns="108000" rIns="144000" bIns="108000" rtlCol="0" anchor="b">
            <a:spAutoFit/>
          </a:bodyPr>
          <a:lstStyle/>
          <a:p>
            <a:pPr algn="ctr"/>
            <a:r>
              <a:rPr lang="en-US" sz="1400" dirty="0">
                <a:latin typeface="Manrope SemiBold" pitchFamily="2" charset="0"/>
              </a:rPr>
              <a:t>“Title”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B9CAF5C-B840-45E8-ABAB-A2832AC0CEA4}"/>
              </a:ext>
            </a:extLst>
          </p:cNvPr>
          <p:cNvSpPr/>
          <p:nvPr/>
        </p:nvSpPr>
        <p:spPr>
          <a:xfrm>
            <a:off x="8198505" y="4802310"/>
            <a:ext cx="180000" cy="180000"/>
          </a:xfrm>
          <a:prstGeom prst="ellipse">
            <a:avLst/>
          </a:prstGeom>
          <a:gradFill>
            <a:gsLst>
              <a:gs pos="100000">
                <a:srgbClr val="FF0000"/>
              </a:gs>
              <a:gs pos="0">
                <a:schemeClr val="accent1"/>
              </a:gs>
            </a:gsLst>
            <a:lin ang="5400000" scaled="1"/>
          </a:gradFill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46160917-1E80-46A0-AD7F-F78FB79D43FB}"/>
              </a:ext>
            </a:extLst>
          </p:cNvPr>
          <p:cNvSpPr/>
          <p:nvPr/>
        </p:nvSpPr>
        <p:spPr>
          <a:xfrm>
            <a:off x="10463368" y="4784759"/>
            <a:ext cx="180000" cy="180000"/>
          </a:xfrm>
          <a:prstGeom prst="ellipse">
            <a:avLst/>
          </a:prstGeom>
          <a:gradFill>
            <a:gsLst>
              <a:gs pos="100000">
                <a:srgbClr val="FF0000"/>
              </a:gs>
              <a:gs pos="0">
                <a:schemeClr val="accent1"/>
              </a:gs>
            </a:gsLst>
            <a:lin ang="5400000" scaled="1"/>
          </a:gradFill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E3BA44EB-B95C-4D9F-8E27-93CA3327922E}"/>
              </a:ext>
            </a:extLst>
          </p:cNvPr>
          <p:cNvSpPr/>
          <p:nvPr/>
        </p:nvSpPr>
        <p:spPr>
          <a:xfrm>
            <a:off x="7413651" y="1179459"/>
            <a:ext cx="180000" cy="180000"/>
          </a:xfrm>
          <a:prstGeom prst="ellipse">
            <a:avLst/>
          </a:prstGeom>
          <a:gradFill>
            <a:gsLst>
              <a:gs pos="100000">
                <a:srgbClr val="FF0000"/>
              </a:gs>
              <a:gs pos="0">
                <a:schemeClr val="accent1"/>
              </a:gs>
            </a:gsLst>
            <a:lin ang="5400000" scaled="1"/>
          </a:gradFill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E46EE3B9-9F89-4E7A-AF4C-03F69E915F69}"/>
              </a:ext>
            </a:extLst>
          </p:cNvPr>
          <p:cNvSpPr/>
          <p:nvPr/>
        </p:nvSpPr>
        <p:spPr>
          <a:xfrm>
            <a:off x="10195166" y="1442237"/>
            <a:ext cx="1398770" cy="492255"/>
          </a:xfrm>
          <a:prstGeom prst="roundRect">
            <a:avLst>
              <a:gd name="adj" fmla="val 20978"/>
            </a:avLst>
          </a:prstGeom>
          <a:solidFill>
            <a:schemeClr val="accent5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tIns="108000" rIns="144000" bIns="108000" rtlCol="0" anchor="b">
            <a:spAutoFit/>
          </a:bodyPr>
          <a:lstStyle/>
          <a:p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Manrope SemiBold" pitchFamily="2" charset="0"/>
              </a:rPr>
              <a:t>Node /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Manrope SemiBold" pitchFamily="2" charset="0"/>
              </a:rPr>
              <a:t>Узел</a:t>
            </a:r>
            <a:endParaRPr lang="en-US" sz="1400" dirty="0">
              <a:solidFill>
                <a:schemeClr val="tx2">
                  <a:lumMod val="75000"/>
                </a:schemeClr>
              </a:solidFill>
              <a:latin typeface="Manrope SemiBold" pitchFamily="2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B966E153-B5E0-4B79-BD5E-B8A6CF87B878}"/>
              </a:ext>
            </a:extLst>
          </p:cNvPr>
          <p:cNvSpPr/>
          <p:nvPr/>
        </p:nvSpPr>
        <p:spPr>
          <a:xfrm>
            <a:off x="10106953" y="1612394"/>
            <a:ext cx="180000" cy="180000"/>
          </a:xfrm>
          <a:prstGeom prst="ellipse">
            <a:avLst/>
          </a:prstGeom>
          <a:gradFill>
            <a:gsLst>
              <a:gs pos="100000">
                <a:srgbClr val="FF0000"/>
              </a:gs>
              <a:gs pos="0">
                <a:schemeClr val="accent1"/>
              </a:gs>
            </a:gsLst>
            <a:lin ang="5400000" scaled="1"/>
          </a:gradFill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A88A6B7-3EC7-4D7B-BE4E-5957BAAF75E8}"/>
              </a:ext>
            </a:extLst>
          </p:cNvPr>
          <p:cNvSpPr/>
          <p:nvPr/>
        </p:nvSpPr>
        <p:spPr>
          <a:xfrm>
            <a:off x="8158480" y="391686"/>
            <a:ext cx="2575669" cy="1045953"/>
          </a:xfrm>
          <a:custGeom>
            <a:avLst/>
            <a:gdLst>
              <a:gd name="connsiteX0" fmla="*/ 2164080 w 2164080"/>
              <a:gd name="connsiteY0" fmla="*/ 665504 h 665504"/>
              <a:gd name="connsiteX1" fmla="*/ 1087120 w 2164080"/>
              <a:gd name="connsiteY1" fmla="*/ 15264 h 665504"/>
              <a:gd name="connsiteX2" fmla="*/ 0 w 2164080"/>
              <a:gd name="connsiteY2" fmla="*/ 269264 h 665504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431800 h 431800"/>
              <a:gd name="connsiteX1" fmla="*/ 0 w 2077720"/>
              <a:gd name="connsiteY1" fmla="*/ 0 h 431800"/>
              <a:gd name="connsiteX0" fmla="*/ 2077720 w 2077720"/>
              <a:gd name="connsiteY0" fmla="*/ 680833 h 680833"/>
              <a:gd name="connsiteX1" fmla="*/ 0 w 2077720"/>
              <a:gd name="connsiteY1" fmla="*/ 249033 h 680833"/>
              <a:gd name="connsiteX0" fmla="*/ 2575560 w 2575560"/>
              <a:gd name="connsiteY0" fmla="*/ 670236 h 670236"/>
              <a:gd name="connsiteX1" fmla="*/ 0 w 2575560"/>
              <a:gd name="connsiteY1" fmla="*/ 251136 h 670236"/>
              <a:gd name="connsiteX0" fmla="*/ 2575560 w 2575560"/>
              <a:gd name="connsiteY0" fmla="*/ 826003 h 826003"/>
              <a:gd name="connsiteX1" fmla="*/ 0 w 2575560"/>
              <a:gd name="connsiteY1" fmla="*/ 406903 h 826003"/>
              <a:gd name="connsiteX0" fmla="*/ 2575560 w 2575560"/>
              <a:gd name="connsiteY0" fmla="*/ 934197 h 934197"/>
              <a:gd name="connsiteX1" fmla="*/ 0 w 2575560"/>
              <a:gd name="connsiteY1" fmla="*/ 515097 h 934197"/>
              <a:gd name="connsiteX0" fmla="*/ 2575560 w 2575560"/>
              <a:gd name="connsiteY0" fmla="*/ 901750 h 901750"/>
              <a:gd name="connsiteX1" fmla="*/ 0 w 2575560"/>
              <a:gd name="connsiteY1" fmla="*/ 482650 h 901750"/>
              <a:gd name="connsiteX0" fmla="*/ 2575560 w 2575669"/>
              <a:gd name="connsiteY0" fmla="*/ 1045953 h 1045953"/>
              <a:gd name="connsiteX1" fmla="*/ 0 w 2575669"/>
              <a:gd name="connsiteY1" fmla="*/ 626853 h 1045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575669" h="1045953">
                <a:moveTo>
                  <a:pt x="2575560" y="1045953"/>
                </a:moveTo>
                <a:cubicBezTo>
                  <a:pt x="2594187" y="-149540"/>
                  <a:pt x="233849" y="-362562"/>
                  <a:pt x="0" y="626853"/>
                </a:cubicBezTo>
              </a:path>
            </a:pathLst>
          </a:custGeom>
          <a:noFill/>
          <a:ln w="12700">
            <a:solidFill>
              <a:schemeClr val="accent5">
                <a:lumMod val="75000"/>
              </a:schemeClr>
            </a:solidFill>
            <a:prstDash val="dash"/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255C207A-8C10-4F0D-9787-FD98866C1383}"/>
              </a:ext>
            </a:extLst>
          </p:cNvPr>
          <p:cNvCxnSpPr>
            <a:cxnSpLocks/>
            <a:stCxn id="55" idx="0"/>
            <a:endCxn id="48" idx="2"/>
          </p:cNvCxnSpPr>
          <p:nvPr/>
        </p:nvCxnSpPr>
        <p:spPr>
          <a:xfrm flipV="1">
            <a:off x="6632002" y="3967455"/>
            <a:ext cx="0" cy="661177"/>
          </a:xfrm>
          <a:prstGeom prst="straightConnector1">
            <a:avLst/>
          </a:prstGeom>
          <a:ln w="25400">
            <a:solidFill>
              <a:schemeClr val="accent6"/>
            </a:soli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D33A57EC-049D-4CBA-86CB-AE25963AE497}"/>
              </a:ext>
            </a:extLst>
          </p:cNvPr>
          <p:cNvCxnSpPr>
            <a:cxnSpLocks/>
            <a:stCxn id="50" idx="0"/>
            <a:endCxn id="52" idx="2"/>
          </p:cNvCxnSpPr>
          <p:nvPr/>
        </p:nvCxnSpPr>
        <p:spPr>
          <a:xfrm flipV="1">
            <a:off x="8649766" y="5120888"/>
            <a:ext cx="0" cy="709511"/>
          </a:xfrm>
          <a:prstGeom prst="straightConnector1">
            <a:avLst/>
          </a:prstGeom>
          <a:ln w="25400">
            <a:gradFill>
              <a:gsLst>
                <a:gs pos="100000">
                  <a:schemeClr val="accent5"/>
                </a:gs>
                <a:gs pos="0">
                  <a:schemeClr val="accent6"/>
                </a:gs>
              </a:gsLst>
              <a:lin ang="5400000" scaled="1"/>
            </a:gra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3A5E1647-C13A-4792-B893-46C55BD94E8E}"/>
              </a:ext>
            </a:extLst>
          </p:cNvPr>
          <p:cNvCxnSpPr>
            <a:cxnSpLocks/>
            <a:stCxn id="53" idx="0"/>
            <a:endCxn id="49" idx="2"/>
          </p:cNvCxnSpPr>
          <p:nvPr/>
        </p:nvCxnSpPr>
        <p:spPr>
          <a:xfrm flipV="1">
            <a:off x="10989920" y="5120887"/>
            <a:ext cx="0" cy="709513"/>
          </a:xfrm>
          <a:prstGeom prst="straightConnector1">
            <a:avLst/>
          </a:prstGeom>
          <a:ln w="25400">
            <a:gradFill>
              <a:gsLst>
                <a:gs pos="100000">
                  <a:schemeClr val="accent5"/>
                </a:gs>
                <a:gs pos="0">
                  <a:schemeClr val="accent6"/>
                </a:gs>
              </a:gsLst>
              <a:lin ang="5400000" scaled="1"/>
            </a:gra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753A8907-E57B-4238-99E0-60D61C472202}"/>
              </a:ext>
            </a:extLst>
          </p:cNvPr>
          <p:cNvCxnSpPr>
            <a:cxnSpLocks/>
            <a:stCxn id="46" idx="0"/>
            <a:endCxn id="45" idx="2"/>
          </p:cNvCxnSpPr>
          <p:nvPr/>
        </p:nvCxnSpPr>
        <p:spPr>
          <a:xfrm flipH="1" flipV="1">
            <a:off x="8148511" y="1515587"/>
            <a:ext cx="1" cy="709512"/>
          </a:xfrm>
          <a:prstGeom prst="straightConnector1">
            <a:avLst/>
          </a:prstGeom>
          <a:ln w="25400">
            <a:gradFill>
              <a:gsLst>
                <a:gs pos="100000">
                  <a:schemeClr val="accent5"/>
                </a:gs>
                <a:gs pos="0">
                  <a:schemeClr val="accent6"/>
                </a:gs>
              </a:gsLst>
              <a:lin ang="5400000" scaled="1"/>
            </a:gra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D37BD5AD-C324-45F6-BD25-896893E5A090}"/>
              </a:ext>
            </a:extLst>
          </p:cNvPr>
          <p:cNvSpPr/>
          <p:nvPr/>
        </p:nvSpPr>
        <p:spPr>
          <a:xfrm>
            <a:off x="6632003" y="2462784"/>
            <a:ext cx="1015254" cy="1012415"/>
          </a:xfrm>
          <a:custGeom>
            <a:avLst/>
            <a:gdLst>
              <a:gd name="connsiteX0" fmla="*/ 2164080 w 2164080"/>
              <a:gd name="connsiteY0" fmla="*/ 665504 h 665504"/>
              <a:gd name="connsiteX1" fmla="*/ 1087120 w 2164080"/>
              <a:gd name="connsiteY1" fmla="*/ 15264 h 665504"/>
              <a:gd name="connsiteX2" fmla="*/ 0 w 2164080"/>
              <a:gd name="connsiteY2" fmla="*/ 269264 h 665504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431800 h 431800"/>
              <a:gd name="connsiteX1" fmla="*/ 0 w 2077720"/>
              <a:gd name="connsiteY1" fmla="*/ 0 h 431800"/>
              <a:gd name="connsiteX0" fmla="*/ 2077720 w 2077720"/>
              <a:gd name="connsiteY0" fmla="*/ 680833 h 680833"/>
              <a:gd name="connsiteX1" fmla="*/ 0 w 2077720"/>
              <a:gd name="connsiteY1" fmla="*/ 249033 h 680833"/>
              <a:gd name="connsiteX0" fmla="*/ 2575560 w 2575560"/>
              <a:gd name="connsiteY0" fmla="*/ 670236 h 670236"/>
              <a:gd name="connsiteX1" fmla="*/ 0 w 2575560"/>
              <a:gd name="connsiteY1" fmla="*/ 251136 h 670236"/>
              <a:gd name="connsiteX0" fmla="*/ 2575560 w 2575560"/>
              <a:gd name="connsiteY0" fmla="*/ 826003 h 826003"/>
              <a:gd name="connsiteX1" fmla="*/ 0 w 2575560"/>
              <a:gd name="connsiteY1" fmla="*/ 406903 h 826003"/>
              <a:gd name="connsiteX0" fmla="*/ 2575560 w 2575560"/>
              <a:gd name="connsiteY0" fmla="*/ 934197 h 934197"/>
              <a:gd name="connsiteX1" fmla="*/ 0 w 2575560"/>
              <a:gd name="connsiteY1" fmla="*/ 515097 h 934197"/>
              <a:gd name="connsiteX0" fmla="*/ 2575560 w 2575560"/>
              <a:gd name="connsiteY0" fmla="*/ 901750 h 901750"/>
              <a:gd name="connsiteX1" fmla="*/ 0 w 2575560"/>
              <a:gd name="connsiteY1" fmla="*/ 482650 h 901750"/>
              <a:gd name="connsiteX0" fmla="*/ 3148584 w 3148584"/>
              <a:gd name="connsiteY0" fmla="*/ 1803801 h 1803801"/>
              <a:gd name="connsiteX1" fmla="*/ 0 w 3148584"/>
              <a:gd name="connsiteY1" fmla="*/ 287421 h 1803801"/>
              <a:gd name="connsiteX0" fmla="*/ 3148584 w 3148584"/>
              <a:gd name="connsiteY0" fmla="*/ 1748089 h 1748089"/>
              <a:gd name="connsiteX1" fmla="*/ 0 w 3148584"/>
              <a:gd name="connsiteY1" fmla="*/ 231709 h 1748089"/>
              <a:gd name="connsiteX0" fmla="*/ 1008888 w 1008888"/>
              <a:gd name="connsiteY0" fmla="*/ 4575 h 902211"/>
              <a:gd name="connsiteX1" fmla="*/ 0 w 1008888"/>
              <a:gd name="connsiteY1" fmla="*/ 902211 h 902211"/>
              <a:gd name="connsiteX0" fmla="*/ 1008888 w 1008888"/>
              <a:gd name="connsiteY0" fmla="*/ 472 h 898108"/>
              <a:gd name="connsiteX1" fmla="*/ 0 w 1008888"/>
              <a:gd name="connsiteY1" fmla="*/ 898108 h 898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8888" h="898108">
                <a:moveTo>
                  <a:pt x="1008888" y="472"/>
                </a:moveTo>
                <a:cubicBezTo>
                  <a:pt x="503259" y="-6301"/>
                  <a:pt x="2201" y="48901"/>
                  <a:pt x="0" y="898108"/>
                </a:cubicBezTo>
              </a:path>
            </a:pathLst>
          </a:custGeom>
          <a:ln w="25400">
            <a:solidFill>
              <a:schemeClr val="accent6"/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C058B7D2-5B12-4969-9742-CCC44D768DAE}"/>
              </a:ext>
            </a:extLst>
          </p:cNvPr>
          <p:cNvSpPr/>
          <p:nvPr/>
        </p:nvSpPr>
        <p:spPr>
          <a:xfrm flipH="1">
            <a:off x="8649764" y="2462784"/>
            <a:ext cx="1135097" cy="964081"/>
          </a:xfrm>
          <a:custGeom>
            <a:avLst/>
            <a:gdLst>
              <a:gd name="connsiteX0" fmla="*/ 2164080 w 2164080"/>
              <a:gd name="connsiteY0" fmla="*/ 665504 h 665504"/>
              <a:gd name="connsiteX1" fmla="*/ 1087120 w 2164080"/>
              <a:gd name="connsiteY1" fmla="*/ 15264 h 665504"/>
              <a:gd name="connsiteX2" fmla="*/ 0 w 2164080"/>
              <a:gd name="connsiteY2" fmla="*/ 269264 h 665504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431800 h 431800"/>
              <a:gd name="connsiteX1" fmla="*/ 0 w 2077720"/>
              <a:gd name="connsiteY1" fmla="*/ 0 h 431800"/>
              <a:gd name="connsiteX0" fmla="*/ 2077720 w 2077720"/>
              <a:gd name="connsiteY0" fmla="*/ 680833 h 680833"/>
              <a:gd name="connsiteX1" fmla="*/ 0 w 2077720"/>
              <a:gd name="connsiteY1" fmla="*/ 249033 h 680833"/>
              <a:gd name="connsiteX0" fmla="*/ 2575560 w 2575560"/>
              <a:gd name="connsiteY0" fmla="*/ 670236 h 670236"/>
              <a:gd name="connsiteX1" fmla="*/ 0 w 2575560"/>
              <a:gd name="connsiteY1" fmla="*/ 251136 h 670236"/>
              <a:gd name="connsiteX0" fmla="*/ 2575560 w 2575560"/>
              <a:gd name="connsiteY0" fmla="*/ 826003 h 826003"/>
              <a:gd name="connsiteX1" fmla="*/ 0 w 2575560"/>
              <a:gd name="connsiteY1" fmla="*/ 406903 h 826003"/>
              <a:gd name="connsiteX0" fmla="*/ 2575560 w 2575560"/>
              <a:gd name="connsiteY0" fmla="*/ 934197 h 934197"/>
              <a:gd name="connsiteX1" fmla="*/ 0 w 2575560"/>
              <a:gd name="connsiteY1" fmla="*/ 515097 h 934197"/>
              <a:gd name="connsiteX0" fmla="*/ 2575560 w 2575560"/>
              <a:gd name="connsiteY0" fmla="*/ 901750 h 901750"/>
              <a:gd name="connsiteX1" fmla="*/ 0 w 2575560"/>
              <a:gd name="connsiteY1" fmla="*/ 482650 h 901750"/>
              <a:gd name="connsiteX0" fmla="*/ 3148584 w 3148584"/>
              <a:gd name="connsiteY0" fmla="*/ 1803801 h 1803801"/>
              <a:gd name="connsiteX1" fmla="*/ 0 w 3148584"/>
              <a:gd name="connsiteY1" fmla="*/ 287421 h 1803801"/>
              <a:gd name="connsiteX0" fmla="*/ 3148584 w 3148584"/>
              <a:gd name="connsiteY0" fmla="*/ 1748089 h 1748089"/>
              <a:gd name="connsiteX1" fmla="*/ 0 w 3148584"/>
              <a:gd name="connsiteY1" fmla="*/ 231709 h 1748089"/>
              <a:gd name="connsiteX0" fmla="*/ 1008888 w 1008888"/>
              <a:gd name="connsiteY0" fmla="*/ 4575 h 902211"/>
              <a:gd name="connsiteX1" fmla="*/ 0 w 1008888"/>
              <a:gd name="connsiteY1" fmla="*/ 902211 h 902211"/>
              <a:gd name="connsiteX0" fmla="*/ 1008888 w 1008888"/>
              <a:gd name="connsiteY0" fmla="*/ 472 h 898108"/>
              <a:gd name="connsiteX1" fmla="*/ 0 w 1008888"/>
              <a:gd name="connsiteY1" fmla="*/ 898108 h 898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8888" h="898108">
                <a:moveTo>
                  <a:pt x="1008888" y="472"/>
                </a:moveTo>
                <a:cubicBezTo>
                  <a:pt x="503259" y="-6301"/>
                  <a:pt x="2201" y="48901"/>
                  <a:pt x="0" y="898108"/>
                </a:cubicBezTo>
              </a:path>
            </a:pathLst>
          </a:custGeom>
          <a:ln w="25400">
            <a:solidFill>
              <a:schemeClr val="accent6"/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00E4AF21-E8C3-492A-A831-3951DE692535}"/>
              </a:ext>
            </a:extLst>
          </p:cNvPr>
          <p:cNvSpPr/>
          <p:nvPr/>
        </p:nvSpPr>
        <p:spPr>
          <a:xfrm flipH="1">
            <a:off x="10268338" y="3675888"/>
            <a:ext cx="721573" cy="952744"/>
          </a:xfrm>
          <a:custGeom>
            <a:avLst/>
            <a:gdLst>
              <a:gd name="connsiteX0" fmla="*/ 2164080 w 2164080"/>
              <a:gd name="connsiteY0" fmla="*/ 665504 h 665504"/>
              <a:gd name="connsiteX1" fmla="*/ 1087120 w 2164080"/>
              <a:gd name="connsiteY1" fmla="*/ 15264 h 665504"/>
              <a:gd name="connsiteX2" fmla="*/ 0 w 2164080"/>
              <a:gd name="connsiteY2" fmla="*/ 269264 h 665504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431800 h 431800"/>
              <a:gd name="connsiteX1" fmla="*/ 0 w 2077720"/>
              <a:gd name="connsiteY1" fmla="*/ 0 h 431800"/>
              <a:gd name="connsiteX0" fmla="*/ 2077720 w 2077720"/>
              <a:gd name="connsiteY0" fmla="*/ 680833 h 680833"/>
              <a:gd name="connsiteX1" fmla="*/ 0 w 2077720"/>
              <a:gd name="connsiteY1" fmla="*/ 249033 h 680833"/>
              <a:gd name="connsiteX0" fmla="*/ 2575560 w 2575560"/>
              <a:gd name="connsiteY0" fmla="*/ 670236 h 670236"/>
              <a:gd name="connsiteX1" fmla="*/ 0 w 2575560"/>
              <a:gd name="connsiteY1" fmla="*/ 251136 h 670236"/>
              <a:gd name="connsiteX0" fmla="*/ 2575560 w 2575560"/>
              <a:gd name="connsiteY0" fmla="*/ 826003 h 826003"/>
              <a:gd name="connsiteX1" fmla="*/ 0 w 2575560"/>
              <a:gd name="connsiteY1" fmla="*/ 406903 h 826003"/>
              <a:gd name="connsiteX0" fmla="*/ 2575560 w 2575560"/>
              <a:gd name="connsiteY0" fmla="*/ 934197 h 934197"/>
              <a:gd name="connsiteX1" fmla="*/ 0 w 2575560"/>
              <a:gd name="connsiteY1" fmla="*/ 515097 h 934197"/>
              <a:gd name="connsiteX0" fmla="*/ 2575560 w 2575560"/>
              <a:gd name="connsiteY0" fmla="*/ 901750 h 901750"/>
              <a:gd name="connsiteX1" fmla="*/ 0 w 2575560"/>
              <a:gd name="connsiteY1" fmla="*/ 482650 h 901750"/>
              <a:gd name="connsiteX0" fmla="*/ 3148584 w 3148584"/>
              <a:gd name="connsiteY0" fmla="*/ 1803801 h 1803801"/>
              <a:gd name="connsiteX1" fmla="*/ 0 w 3148584"/>
              <a:gd name="connsiteY1" fmla="*/ 287421 h 1803801"/>
              <a:gd name="connsiteX0" fmla="*/ 3148584 w 3148584"/>
              <a:gd name="connsiteY0" fmla="*/ 1748089 h 1748089"/>
              <a:gd name="connsiteX1" fmla="*/ 0 w 3148584"/>
              <a:gd name="connsiteY1" fmla="*/ 231709 h 1748089"/>
              <a:gd name="connsiteX0" fmla="*/ 1008888 w 1008888"/>
              <a:gd name="connsiteY0" fmla="*/ 4575 h 902211"/>
              <a:gd name="connsiteX1" fmla="*/ 0 w 1008888"/>
              <a:gd name="connsiteY1" fmla="*/ 902211 h 902211"/>
              <a:gd name="connsiteX0" fmla="*/ 1008888 w 1008888"/>
              <a:gd name="connsiteY0" fmla="*/ 472 h 898108"/>
              <a:gd name="connsiteX1" fmla="*/ 0 w 1008888"/>
              <a:gd name="connsiteY1" fmla="*/ 898108 h 898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8888" h="898108">
                <a:moveTo>
                  <a:pt x="1008888" y="472"/>
                </a:moveTo>
                <a:cubicBezTo>
                  <a:pt x="503259" y="-6301"/>
                  <a:pt x="2201" y="48901"/>
                  <a:pt x="0" y="898108"/>
                </a:cubicBezTo>
              </a:path>
            </a:pathLst>
          </a:custGeom>
          <a:ln w="25400">
            <a:gradFill>
              <a:gsLst>
                <a:gs pos="100000">
                  <a:schemeClr val="accent5"/>
                </a:gs>
                <a:gs pos="0">
                  <a:schemeClr val="accent6"/>
                </a:gs>
              </a:gsLst>
              <a:lin ang="5400000" scaled="1"/>
            </a:gra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DAF08115-C994-4DE0-98CC-59931C907647}"/>
              </a:ext>
            </a:extLst>
          </p:cNvPr>
          <p:cNvSpPr/>
          <p:nvPr/>
        </p:nvSpPr>
        <p:spPr>
          <a:xfrm>
            <a:off x="8643888" y="3675888"/>
            <a:ext cx="606635" cy="952744"/>
          </a:xfrm>
          <a:custGeom>
            <a:avLst/>
            <a:gdLst>
              <a:gd name="connsiteX0" fmla="*/ 2164080 w 2164080"/>
              <a:gd name="connsiteY0" fmla="*/ 665504 h 665504"/>
              <a:gd name="connsiteX1" fmla="*/ 1087120 w 2164080"/>
              <a:gd name="connsiteY1" fmla="*/ 15264 h 665504"/>
              <a:gd name="connsiteX2" fmla="*/ 0 w 2164080"/>
              <a:gd name="connsiteY2" fmla="*/ 269264 h 665504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431800 h 431800"/>
              <a:gd name="connsiteX1" fmla="*/ 0 w 2077720"/>
              <a:gd name="connsiteY1" fmla="*/ 0 h 431800"/>
              <a:gd name="connsiteX0" fmla="*/ 2077720 w 2077720"/>
              <a:gd name="connsiteY0" fmla="*/ 680833 h 680833"/>
              <a:gd name="connsiteX1" fmla="*/ 0 w 2077720"/>
              <a:gd name="connsiteY1" fmla="*/ 249033 h 680833"/>
              <a:gd name="connsiteX0" fmla="*/ 2575560 w 2575560"/>
              <a:gd name="connsiteY0" fmla="*/ 670236 h 670236"/>
              <a:gd name="connsiteX1" fmla="*/ 0 w 2575560"/>
              <a:gd name="connsiteY1" fmla="*/ 251136 h 670236"/>
              <a:gd name="connsiteX0" fmla="*/ 2575560 w 2575560"/>
              <a:gd name="connsiteY0" fmla="*/ 826003 h 826003"/>
              <a:gd name="connsiteX1" fmla="*/ 0 w 2575560"/>
              <a:gd name="connsiteY1" fmla="*/ 406903 h 826003"/>
              <a:gd name="connsiteX0" fmla="*/ 2575560 w 2575560"/>
              <a:gd name="connsiteY0" fmla="*/ 934197 h 934197"/>
              <a:gd name="connsiteX1" fmla="*/ 0 w 2575560"/>
              <a:gd name="connsiteY1" fmla="*/ 515097 h 934197"/>
              <a:gd name="connsiteX0" fmla="*/ 2575560 w 2575560"/>
              <a:gd name="connsiteY0" fmla="*/ 901750 h 901750"/>
              <a:gd name="connsiteX1" fmla="*/ 0 w 2575560"/>
              <a:gd name="connsiteY1" fmla="*/ 482650 h 901750"/>
              <a:gd name="connsiteX0" fmla="*/ 3148584 w 3148584"/>
              <a:gd name="connsiteY0" fmla="*/ 1803801 h 1803801"/>
              <a:gd name="connsiteX1" fmla="*/ 0 w 3148584"/>
              <a:gd name="connsiteY1" fmla="*/ 287421 h 1803801"/>
              <a:gd name="connsiteX0" fmla="*/ 3148584 w 3148584"/>
              <a:gd name="connsiteY0" fmla="*/ 1748089 h 1748089"/>
              <a:gd name="connsiteX1" fmla="*/ 0 w 3148584"/>
              <a:gd name="connsiteY1" fmla="*/ 231709 h 1748089"/>
              <a:gd name="connsiteX0" fmla="*/ 1008888 w 1008888"/>
              <a:gd name="connsiteY0" fmla="*/ 4575 h 902211"/>
              <a:gd name="connsiteX1" fmla="*/ 0 w 1008888"/>
              <a:gd name="connsiteY1" fmla="*/ 902211 h 902211"/>
              <a:gd name="connsiteX0" fmla="*/ 1008888 w 1008888"/>
              <a:gd name="connsiteY0" fmla="*/ 472 h 898108"/>
              <a:gd name="connsiteX1" fmla="*/ 0 w 1008888"/>
              <a:gd name="connsiteY1" fmla="*/ 898108 h 898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8888" h="898108">
                <a:moveTo>
                  <a:pt x="1008888" y="472"/>
                </a:moveTo>
                <a:cubicBezTo>
                  <a:pt x="503259" y="-6301"/>
                  <a:pt x="2201" y="48901"/>
                  <a:pt x="0" y="898108"/>
                </a:cubicBezTo>
              </a:path>
            </a:pathLst>
          </a:custGeom>
          <a:ln w="25400">
            <a:gradFill>
              <a:gsLst>
                <a:gs pos="100000">
                  <a:schemeClr val="accent5"/>
                </a:gs>
                <a:gs pos="0">
                  <a:schemeClr val="accent6"/>
                </a:gs>
              </a:gsLst>
              <a:lin ang="5400000" scaled="1"/>
            </a:gradFill>
            <a:headEnd type="arrow"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E569FC76-0B4F-49D0-8378-11CBBAD0B06F}"/>
              </a:ext>
            </a:extLst>
          </p:cNvPr>
          <p:cNvSpPr/>
          <p:nvPr/>
        </p:nvSpPr>
        <p:spPr>
          <a:xfrm flipV="1">
            <a:off x="9015719" y="1934491"/>
            <a:ext cx="1924332" cy="2957819"/>
          </a:xfrm>
          <a:custGeom>
            <a:avLst/>
            <a:gdLst>
              <a:gd name="connsiteX0" fmla="*/ 2164080 w 2164080"/>
              <a:gd name="connsiteY0" fmla="*/ 665504 h 665504"/>
              <a:gd name="connsiteX1" fmla="*/ 1087120 w 2164080"/>
              <a:gd name="connsiteY1" fmla="*/ 15264 h 665504"/>
              <a:gd name="connsiteX2" fmla="*/ 0 w 2164080"/>
              <a:gd name="connsiteY2" fmla="*/ 269264 h 665504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431800 h 431800"/>
              <a:gd name="connsiteX1" fmla="*/ 0 w 2077720"/>
              <a:gd name="connsiteY1" fmla="*/ 0 h 431800"/>
              <a:gd name="connsiteX0" fmla="*/ 2077720 w 2077720"/>
              <a:gd name="connsiteY0" fmla="*/ 680833 h 680833"/>
              <a:gd name="connsiteX1" fmla="*/ 0 w 2077720"/>
              <a:gd name="connsiteY1" fmla="*/ 249033 h 680833"/>
              <a:gd name="connsiteX0" fmla="*/ 2575560 w 2575560"/>
              <a:gd name="connsiteY0" fmla="*/ 670236 h 670236"/>
              <a:gd name="connsiteX1" fmla="*/ 0 w 2575560"/>
              <a:gd name="connsiteY1" fmla="*/ 251136 h 670236"/>
              <a:gd name="connsiteX0" fmla="*/ 2575560 w 2575560"/>
              <a:gd name="connsiteY0" fmla="*/ 826003 h 826003"/>
              <a:gd name="connsiteX1" fmla="*/ 0 w 2575560"/>
              <a:gd name="connsiteY1" fmla="*/ 406903 h 826003"/>
              <a:gd name="connsiteX0" fmla="*/ 2575560 w 2575560"/>
              <a:gd name="connsiteY0" fmla="*/ 934197 h 934197"/>
              <a:gd name="connsiteX1" fmla="*/ 0 w 2575560"/>
              <a:gd name="connsiteY1" fmla="*/ 515097 h 934197"/>
              <a:gd name="connsiteX0" fmla="*/ 2575560 w 2575560"/>
              <a:gd name="connsiteY0" fmla="*/ 901750 h 901750"/>
              <a:gd name="connsiteX1" fmla="*/ 0 w 2575560"/>
              <a:gd name="connsiteY1" fmla="*/ 482650 h 901750"/>
              <a:gd name="connsiteX0" fmla="*/ 2575560 w 2575669"/>
              <a:gd name="connsiteY0" fmla="*/ 1045953 h 1045953"/>
              <a:gd name="connsiteX1" fmla="*/ 0 w 2575669"/>
              <a:gd name="connsiteY1" fmla="*/ 626853 h 1045953"/>
              <a:gd name="connsiteX0" fmla="*/ 1727200 w 1727370"/>
              <a:gd name="connsiteY0" fmla="*/ 1506895 h 1506895"/>
              <a:gd name="connsiteX1" fmla="*/ 0 w 1727370"/>
              <a:gd name="connsiteY1" fmla="*/ 429668 h 1506895"/>
              <a:gd name="connsiteX0" fmla="*/ 1727200 w 1727913"/>
              <a:gd name="connsiteY0" fmla="*/ 1077227 h 1077227"/>
              <a:gd name="connsiteX1" fmla="*/ 0 w 1727913"/>
              <a:gd name="connsiteY1" fmla="*/ 0 h 1077227"/>
              <a:gd name="connsiteX0" fmla="*/ 1931387 w 1931847"/>
              <a:gd name="connsiteY0" fmla="*/ 1340113 h 1340113"/>
              <a:gd name="connsiteX1" fmla="*/ 0 w 1931847"/>
              <a:gd name="connsiteY1" fmla="*/ 0 h 1340113"/>
              <a:gd name="connsiteX0" fmla="*/ 1931387 w 1933869"/>
              <a:gd name="connsiteY0" fmla="*/ 1340113 h 1340113"/>
              <a:gd name="connsiteX1" fmla="*/ 0 w 1933869"/>
              <a:gd name="connsiteY1" fmla="*/ 0 h 1340113"/>
              <a:gd name="connsiteX0" fmla="*/ 1904754 w 1907344"/>
              <a:gd name="connsiteY0" fmla="*/ 1344221 h 1344221"/>
              <a:gd name="connsiteX1" fmla="*/ 0 w 1907344"/>
              <a:gd name="connsiteY1" fmla="*/ 0 h 1344221"/>
              <a:gd name="connsiteX0" fmla="*/ 1904754 w 1906615"/>
              <a:gd name="connsiteY0" fmla="*/ 1344221 h 1344221"/>
              <a:gd name="connsiteX1" fmla="*/ 0 w 1906615"/>
              <a:gd name="connsiteY1" fmla="*/ 0 h 1344221"/>
              <a:gd name="connsiteX0" fmla="*/ 1922509 w 1924332"/>
              <a:gd name="connsiteY0" fmla="*/ 1344221 h 1344221"/>
              <a:gd name="connsiteX1" fmla="*/ 0 w 1924332"/>
              <a:gd name="connsiteY1" fmla="*/ 0 h 1344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24332" h="1344221">
                <a:moveTo>
                  <a:pt x="1922509" y="1344221"/>
                </a:moveTo>
                <a:cubicBezTo>
                  <a:pt x="1967769" y="230880"/>
                  <a:pt x="1166005" y="515"/>
                  <a:pt x="0" y="0"/>
                </a:cubicBezTo>
              </a:path>
            </a:pathLst>
          </a:custGeom>
          <a:noFill/>
          <a:ln w="12700">
            <a:solidFill>
              <a:schemeClr val="accent5">
                <a:lumMod val="75000"/>
              </a:schemeClr>
            </a:solidFill>
            <a:prstDash val="dash"/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B6935168-B881-46C5-A5B3-0E9575FEFD8A}"/>
              </a:ext>
            </a:extLst>
          </p:cNvPr>
          <p:cNvSpPr/>
          <p:nvPr/>
        </p:nvSpPr>
        <p:spPr>
          <a:xfrm flipV="1">
            <a:off x="11080011" y="1939089"/>
            <a:ext cx="454287" cy="2666708"/>
          </a:xfrm>
          <a:custGeom>
            <a:avLst/>
            <a:gdLst>
              <a:gd name="connsiteX0" fmla="*/ 2164080 w 2164080"/>
              <a:gd name="connsiteY0" fmla="*/ 665504 h 665504"/>
              <a:gd name="connsiteX1" fmla="*/ 1087120 w 2164080"/>
              <a:gd name="connsiteY1" fmla="*/ 15264 h 665504"/>
              <a:gd name="connsiteX2" fmla="*/ 0 w 2164080"/>
              <a:gd name="connsiteY2" fmla="*/ 269264 h 665504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703087 h 703087"/>
              <a:gd name="connsiteX1" fmla="*/ 1087120 w 2077720"/>
              <a:gd name="connsiteY1" fmla="*/ 17287 h 703087"/>
              <a:gd name="connsiteX2" fmla="*/ 0 w 2077720"/>
              <a:gd name="connsiteY2" fmla="*/ 271287 h 703087"/>
              <a:gd name="connsiteX0" fmla="*/ 2077720 w 2077720"/>
              <a:gd name="connsiteY0" fmla="*/ 431800 h 431800"/>
              <a:gd name="connsiteX1" fmla="*/ 0 w 2077720"/>
              <a:gd name="connsiteY1" fmla="*/ 0 h 431800"/>
              <a:gd name="connsiteX0" fmla="*/ 2077720 w 2077720"/>
              <a:gd name="connsiteY0" fmla="*/ 680833 h 680833"/>
              <a:gd name="connsiteX1" fmla="*/ 0 w 2077720"/>
              <a:gd name="connsiteY1" fmla="*/ 249033 h 680833"/>
              <a:gd name="connsiteX0" fmla="*/ 2575560 w 2575560"/>
              <a:gd name="connsiteY0" fmla="*/ 670236 h 670236"/>
              <a:gd name="connsiteX1" fmla="*/ 0 w 2575560"/>
              <a:gd name="connsiteY1" fmla="*/ 251136 h 670236"/>
              <a:gd name="connsiteX0" fmla="*/ 2575560 w 2575560"/>
              <a:gd name="connsiteY0" fmla="*/ 826003 h 826003"/>
              <a:gd name="connsiteX1" fmla="*/ 0 w 2575560"/>
              <a:gd name="connsiteY1" fmla="*/ 406903 h 826003"/>
              <a:gd name="connsiteX0" fmla="*/ 2575560 w 2575560"/>
              <a:gd name="connsiteY0" fmla="*/ 934197 h 934197"/>
              <a:gd name="connsiteX1" fmla="*/ 0 w 2575560"/>
              <a:gd name="connsiteY1" fmla="*/ 515097 h 934197"/>
              <a:gd name="connsiteX0" fmla="*/ 2575560 w 2575560"/>
              <a:gd name="connsiteY0" fmla="*/ 901750 h 901750"/>
              <a:gd name="connsiteX1" fmla="*/ 0 w 2575560"/>
              <a:gd name="connsiteY1" fmla="*/ 482650 h 901750"/>
              <a:gd name="connsiteX0" fmla="*/ 2575560 w 2575669"/>
              <a:gd name="connsiteY0" fmla="*/ 1045953 h 1045953"/>
              <a:gd name="connsiteX1" fmla="*/ 0 w 2575669"/>
              <a:gd name="connsiteY1" fmla="*/ 626853 h 1045953"/>
              <a:gd name="connsiteX0" fmla="*/ 1727200 w 1727370"/>
              <a:gd name="connsiteY0" fmla="*/ 1506895 h 1506895"/>
              <a:gd name="connsiteX1" fmla="*/ 0 w 1727370"/>
              <a:gd name="connsiteY1" fmla="*/ 429668 h 1506895"/>
              <a:gd name="connsiteX0" fmla="*/ 1727200 w 1727913"/>
              <a:gd name="connsiteY0" fmla="*/ 1077227 h 1077227"/>
              <a:gd name="connsiteX1" fmla="*/ 0 w 1727913"/>
              <a:gd name="connsiteY1" fmla="*/ 0 h 1077227"/>
              <a:gd name="connsiteX0" fmla="*/ 1931387 w 1931847"/>
              <a:gd name="connsiteY0" fmla="*/ 1340113 h 1340113"/>
              <a:gd name="connsiteX1" fmla="*/ 0 w 1931847"/>
              <a:gd name="connsiteY1" fmla="*/ 0 h 1340113"/>
              <a:gd name="connsiteX0" fmla="*/ 1931387 w 1933869"/>
              <a:gd name="connsiteY0" fmla="*/ 1340113 h 1340113"/>
              <a:gd name="connsiteX1" fmla="*/ 0 w 1933869"/>
              <a:gd name="connsiteY1" fmla="*/ 0 h 1340113"/>
              <a:gd name="connsiteX0" fmla="*/ 1904754 w 1907344"/>
              <a:gd name="connsiteY0" fmla="*/ 1344221 h 1344221"/>
              <a:gd name="connsiteX1" fmla="*/ 0 w 1907344"/>
              <a:gd name="connsiteY1" fmla="*/ 0 h 1344221"/>
              <a:gd name="connsiteX0" fmla="*/ 1904754 w 1906615"/>
              <a:gd name="connsiteY0" fmla="*/ 1344221 h 1344221"/>
              <a:gd name="connsiteX1" fmla="*/ 0 w 1906615"/>
              <a:gd name="connsiteY1" fmla="*/ 0 h 1344221"/>
              <a:gd name="connsiteX0" fmla="*/ 1922509 w 1924332"/>
              <a:gd name="connsiteY0" fmla="*/ 1344221 h 1344221"/>
              <a:gd name="connsiteX1" fmla="*/ 0 w 1924332"/>
              <a:gd name="connsiteY1" fmla="*/ 0 h 1344221"/>
              <a:gd name="connsiteX0" fmla="*/ 1 w 716325"/>
              <a:gd name="connsiteY0" fmla="*/ 1230457 h 1230457"/>
              <a:gd name="connsiteX1" fmla="*/ 246856 w 716325"/>
              <a:gd name="connsiteY1" fmla="*/ 0 h 1230457"/>
              <a:gd name="connsiteX0" fmla="*/ 1 w 697349"/>
              <a:gd name="connsiteY0" fmla="*/ 1230457 h 1230457"/>
              <a:gd name="connsiteX1" fmla="*/ 246856 w 697349"/>
              <a:gd name="connsiteY1" fmla="*/ 0 h 1230457"/>
              <a:gd name="connsiteX0" fmla="*/ 42931 w 678886"/>
              <a:gd name="connsiteY0" fmla="*/ 1230457 h 1230457"/>
              <a:gd name="connsiteX1" fmla="*/ 289786 w 678886"/>
              <a:gd name="connsiteY1" fmla="*/ 0 h 1230457"/>
              <a:gd name="connsiteX0" fmla="*/ 43612 w 655540"/>
              <a:gd name="connsiteY0" fmla="*/ 1213809 h 1213809"/>
              <a:gd name="connsiteX1" fmla="*/ 261734 w 655540"/>
              <a:gd name="connsiteY1" fmla="*/ 0 h 1213809"/>
              <a:gd name="connsiteX0" fmla="*/ 28489 w 1070634"/>
              <a:gd name="connsiteY0" fmla="*/ 1213809 h 1213809"/>
              <a:gd name="connsiteX1" fmla="*/ 246611 w 1070634"/>
              <a:gd name="connsiteY1" fmla="*/ 0 h 1213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0634" h="1213809">
                <a:moveTo>
                  <a:pt x="28489" y="1213809"/>
                </a:moveTo>
                <a:cubicBezTo>
                  <a:pt x="-299784" y="697034"/>
                  <a:pt x="2360815" y="499965"/>
                  <a:pt x="246611" y="0"/>
                </a:cubicBezTo>
              </a:path>
            </a:pathLst>
          </a:custGeom>
          <a:noFill/>
          <a:ln w="12700">
            <a:solidFill>
              <a:schemeClr val="accent5">
                <a:lumMod val="75000"/>
              </a:schemeClr>
            </a:solidFill>
            <a:prstDash val="dash"/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CB299803-78B2-416A-A222-8A1D8BF22F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891110"/>
              </p:ext>
            </p:extLst>
          </p:nvPr>
        </p:nvGraphicFramePr>
        <p:xfrm>
          <a:off x="478542" y="2021983"/>
          <a:ext cx="4998265" cy="33020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6658">
                  <a:extLst>
                    <a:ext uri="{9D8B030D-6E8A-4147-A177-3AD203B41FA5}">
                      <a16:colId xmlns:a16="http://schemas.microsoft.com/office/drawing/2014/main" val="3170805554"/>
                    </a:ext>
                  </a:extLst>
                </a:gridCol>
                <a:gridCol w="3241607">
                  <a:extLst>
                    <a:ext uri="{9D8B030D-6E8A-4147-A177-3AD203B41FA5}">
                      <a16:colId xmlns:a16="http://schemas.microsoft.com/office/drawing/2014/main" val="3957495510"/>
                    </a:ext>
                  </a:extLst>
                </a:gridCol>
              </a:tblGrid>
              <a:tr h="1100673">
                <a:tc>
                  <a:txBody>
                    <a:bodyPr/>
                    <a:lstStyle/>
                    <a:p>
                      <a:pPr algn="l"/>
                      <a:r>
                        <a:rPr lang="ru-RU" sz="1600" b="0" kern="1200" spc="50" dirty="0">
                          <a:solidFill>
                            <a:schemeClr val="accent3">
                              <a:lumMod val="40000"/>
                              <a:lumOff val="60000"/>
                            </a:schemeClr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document</a:t>
                      </a:r>
                      <a:endParaRPr lang="en-US" sz="1600" b="0" kern="1200" spc="50" dirty="0">
                        <a:solidFill>
                          <a:schemeClr val="accent3">
                            <a:lumMod val="40000"/>
                            <a:lumOff val="60000"/>
                          </a:schemeClr>
                        </a:solidFill>
                        <a:latin typeface="Source Code Pro" panose="020B0309030403020204" pitchFamily="49" charset="0"/>
                        <a:ea typeface="Source Code Pro" panose="020B0309030403020204" pitchFamily="49" charset="0"/>
                        <a:cs typeface="Arial" panose="020B0604020202020204" pitchFamily="34" charset="0"/>
                      </a:endParaRP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0" kern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глобальный главный элемент</a:t>
                      </a:r>
                      <a:r>
                        <a:rPr lang="en-US" sz="1200" b="0" kern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ru-RU" sz="1200" b="0" kern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дает доступ ко всей странице</a:t>
                      </a:r>
                      <a:endParaRPr lang="en-US" sz="1200" b="0" kern="1200" spc="50" dirty="0">
                        <a:solidFill>
                          <a:schemeClr val="bg1"/>
                        </a:solidFill>
                        <a:latin typeface="Manrope" pitchFamily="2" charset="0"/>
                        <a:ea typeface="Source Code Pro" panose="020B0309030403020204" pitchFamily="49" charset="0"/>
                        <a:cs typeface="Arial" panose="020B0604020202020204" pitchFamily="34" charset="0"/>
                      </a:endParaRP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9427713"/>
                  </a:ext>
                </a:extLst>
              </a:tr>
              <a:tr h="1100673">
                <a:tc>
                  <a:txBody>
                    <a:bodyPr/>
                    <a:lstStyle/>
                    <a:p>
                      <a:pPr algn="l"/>
                      <a:r>
                        <a:rPr lang="en-US" sz="1600" spc="5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E</a:t>
                      </a:r>
                      <a:r>
                        <a:rPr lang="ru-RU" sz="1600" spc="5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lement</a:t>
                      </a:r>
                      <a:br>
                        <a:rPr lang="en-US" sz="1600" spc="5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</a:br>
                      <a:r>
                        <a:rPr lang="ru-RU" sz="1600" spc="5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p, div, </a:t>
                      </a:r>
                      <a:r>
                        <a:rPr lang="en-US" sz="1600" spc="5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…</a:t>
                      </a:r>
                      <a:endParaRPr lang="en-US" sz="1600" b="0" kern="1200" spc="50" dirty="0">
                        <a:solidFill>
                          <a:schemeClr val="accent1"/>
                        </a:solidFill>
                        <a:latin typeface="Source Code Pro" panose="020B0309030403020204" pitchFamily="49" charset="0"/>
                        <a:ea typeface="Source Code Pro" panose="020B0309030403020204" pitchFamily="49" charset="0"/>
                        <a:cs typeface="Arial" panose="020B0604020202020204" pitchFamily="34" charset="0"/>
                      </a:endParaRP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узлы</a:t>
                      </a:r>
                      <a:endParaRPr lang="en-US" sz="1200" kern="1200" spc="50" dirty="0">
                        <a:solidFill>
                          <a:schemeClr val="bg1"/>
                        </a:solidFill>
                        <a:latin typeface="Manrope" pitchFamily="2" charset="0"/>
                        <a:ea typeface="Source Code Pro" panose="020B0309030403020204" pitchFamily="49" charset="0"/>
                        <a:cs typeface="Arial" panose="020B0604020202020204" pitchFamily="34" charset="0"/>
                      </a:endParaRP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9173906"/>
                  </a:ext>
                </a:extLst>
              </a:tr>
              <a:tr h="1100673">
                <a:tc>
                  <a:txBody>
                    <a:bodyPr/>
                    <a:lstStyle/>
                    <a:p>
                      <a:pPr algn="l"/>
                      <a:r>
                        <a:rPr lang="ru-RU" sz="1600" spc="50" dirty="0">
                          <a:solidFill>
                            <a:schemeClr val="bg1"/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Demo Text</a:t>
                      </a:r>
                      <a:endParaRPr lang="en-US" sz="1600" b="0" kern="1200" spc="50" dirty="0">
                        <a:solidFill>
                          <a:schemeClr val="accent1"/>
                        </a:solidFill>
                        <a:latin typeface="Source Code Pro" panose="020B0309030403020204" pitchFamily="49" charset="0"/>
                        <a:ea typeface="Source Code Pro" panose="020B0309030403020204" pitchFamily="49" charset="0"/>
                        <a:cs typeface="Arial" panose="020B0604020202020204" pitchFamily="34" charset="0"/>
                      </a:endParaRP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подэлемент Узла</a:t>
                      </a:r>
                      <a:br>
                        <a:rPr lang="en-US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</a:br>
                      <a:r>
                        <a:rPr lang="ru-RU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(Node)</a:t>
                      </a:r>
                      <a:endParaRPr lang="en-US" sz="1200" kern="1200" spc="50" dirty="0">
                        <a:solidFill>
                          <a:schemeClr val="bg1"/>
                        </a:solidFill>
                        <a:latin typeface="Manrope" pitchFamily="2" charset="0"/>
                        <a:ea typeface="Source Code Pro" panose="020B0309030403020204" pitchFamily="49" charset="0"/>
                        <a:cs typeface="Arial" panose="020B0604020202020204" pitchFamily="34" charset="0"/>
                      </a:endParaRP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942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9385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0" tmFilter="0, 0; .2, .5; .8, .5; 1, 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0" autoRev="1" fill="hold"/>
                                        <p:tgtEl>
                                          <p:spTgt spid="8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AB5E3AC5-7553-4096-BE64-0B5D51387B7F}"/>
              </a:ext>
            </a:extLst>
          </p:cNvPr>
          <p:cNvSpPr/>
          <p:nvPr/>
        </p:nvSpPr>
        <p:spPr>
          <a:xfrm rot="10800000">
            <a:off x="11995" y="0"/>
            <a:ext cx="12191998" cy="6858000"/>
          </a:xfrm>
          <a:prstGeom prst="rect">
            <a:avLst/>
          </a:prstGeom>
          <a:gradFill flip="none" rotWithShape="1">
            <a:gsLst>
              <a:gs pos="0">
                <a:srgbClr val="9000FF">
                  <a:alpha val="37000"/>
                </a:srgbClr>
              </a:gs>
              <a:gs pos="89000">
                <a:schemeClr val="tx1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02B880C-98BC-49BD-96A2-633FC7EC893D}"/>
              </a:ext>
            </a:extLst>
          </p:cNvPr>
          <p:cNvSpPr/>
          <p:nvPr/>
        </p:nvSpPr>
        <p:spPr>
          <a:xfrm>
            <a:off x="0" y="1"/>
            <a:ext cx="12191998" cy="6858000"/>
          </a:xfrm>
          <a:prstGeom prst="rect">
            <a:avLst/>
          </a:prstGeom>
          <a:gradFill flip="none" rotWithShape="1">
            <a:gsLst>
              <a:gs pos="0">
                <a:srgbClr val="F84114">
                  <a:alpha val="48000"/>
                </a:srgbClr>
              </a:gs>
              <a:gs pos="89000">
                <a:schemeClr val="tx1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4498347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Селекторы </a:t>
            </a:r>
            <a:r>
              <a:rPr lang="ru-RU" sz="2800" spc="50" dirty="0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+ Страница</a:t>
            </a:r>
            <a:endParaRPr lang="en-RU" sz="2800" spc="50" dirty="0">
              <a:gradFill flip="none" rotWithShape="1">
                <a:gsLst>
                  <a:gs pos="0">
                    <a:srgbClr val="1A69DF"/>
                  </a:gs>
                  <a:gs pos="73000">
                    <a:srgbClr val="9000FF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CB299803-78B2-416A-A222-8A1D8BF22F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4981092"/>
              </p:ext>
            </p:extLst>
          </p:nvPr>
        </p:nvGraphicFramePr>
        <p:xfrm>
          <a:off x="668632" y="3425968"/>
          <a:ext cx="10832488" cy="28783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1288">
                  <a:extLst>
                    <a:ext uri="{9D8B030D-6E8A-4147-A177-3AD203B41FA5}">
                      <a16:colId xmlns:a16="http://schemas.microsoft.com/office/drawing/2014/main" val="3170805554"/>
                    </a:ext>
                  </a:extLst>
                </a:gridCol>
                <a:gridCol w="8331200">
                  <a:extLst>
                    <a:ext uri="{9D8B030D-6E8A-4147-A177-3AD203B41FA5}">
                      <a16:colId xmlns:a16="http://schemas.microsoft.com/office/drawing/2014/main" val="3957495510"/>
                    </a:ext>
                  </a:extLst>
                </a:gridCol>
              </a:tblGrid>
              <a:tr h="575662">
                <a:tc>
                  <a:txBody>
                    <a:bodyPr/>
                    <a:lstStyle/>
                    <a:p>
                      <a:pPr algn="l"/>
                      <a:r>
                        <a:rPr lang="ru-RU" sz="1050" b="0" kern="1200" spc="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Manrope ExtraBold" pitchFamily="2" charset="0"/>
                          <a:ea typeface="Inter SemiBold" panose="02000503000000020004" pitchFamily="2" charset="0"/>
                          <a:cs typeface="Arial" panose="020B0604020202020204" pitchFamily="34" charset="0"/>
                        </a:rPr>
                        <a:t>ПРИМЕР СЕЛЕКТОРА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b="0" kern="1200" spc="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Manrope ExtraBold" pitchFamily="2" charset="0"/>
                          <a:ea typeface="Inter SemiBold" panose="02000503000000020004" pitchFamily="2" charset="0"/>
                          <a:cs typeface="Arial" panose="020B0604020202020204" pitchFamily="34" charset="0"/>
                        </a:rPr>
                        <a:t>ЧТО ИЩЕМ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427713"/>
                  </a:ext>
                </a:extLst>
              </a:tr>
              <a:tr h="575662">
                <a:tc>
                  <a:txBody>
                    <a:bodyPr/>
                    <a:lstStyle/>
                    <a:p>
                      <a:pPr algn="l"/>
                      <a:r>
                        <a:rPr lang="en-US" sz="1600" spc="5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div.card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div </a:t>
                      </a:r>
                      <a:r>
                        <a:rPr lang="ru-RU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с классом </a:t>
                      </a:r>
                      <a:r>
                        <a:rPr lang="en-US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card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9173906"/>
                  </a:ext>
                </a:extLst>
              </a:tr>
              <a:tr h="575662">
                <a:tc>
                  <a:txBody>
                    <a:bodyPr/>
                    <a:lstStyle/>
                    <a:p>
                      <a:pPr algn="l"/>
                      <a:r>
                        <a:rPr lang="en-US" sz="1600" spc="50" dirty="0">
                          <a:solidFill>
                            <a:srgbClr val="00EE9F"/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#myId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Тег с идентификатором </a:t>
                      </a:r>
                      <a:r>
                        <a:rPr lang="en-US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myId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942687"/>
                  </a:ext>
                </a:extLst>
              </a:tr>
              <a:tr h="575662">
                <a:tc>
                  <a:txBody>
                    <a:bodyPr/>
                    <a:lstStyle/>
                    <a:p>
                      <a:pPr algn="l"/>
                      <a:r>
                        <a:rPr lang="en-US" sz="1600" b="0" kern="1200" spc="50" dirty="0">
                          <a:solidFill>
                            <a:srgbClr val="00EE9F"/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600" b="0" kern="1200" spc="50" dirty="0" err="1">
                          <a:solidFill>
                            <a:srgbClr val="00EE9F"/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card.person</a:t>
                      </a:r>
                      <a:endParaRPr lang="en-US" sz="1600" b="0" kern="1200" spc="50" dirty="0">
                        <a:solidFill>
                          <a:srgbClr val="00EE9F"/>
                        </a:solidFill>
                        <a:latin typeface="Source Code Pro" panose="020B0309030403020204" pitchFamily="49" charset="0"/>
                        <a:ea typeface="Source Code Pro" panose="020B0309030403020204" pitchFamily="49" charset="0"/>
                        <a:cs typeface="Arial" panose="020B0604020202020204" pitchFamily="34" charset="0"/>
                      </a:endParaRP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Тег с классами card и person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9549565"/>
                  </a:ext>
                </a:extLst>
              </a:tr>
              <a:tr h="575662">
                <a:tc>
                  <a:txBody>
                    <a:bodyPr/>
                    <a:lstStyle/>
                    <a:p>
                      <a:pPr algn="l"/>
                      <a:r>
                        <a:rPr lang="en-US" sz="1600" b="0" kern="1200" spc="50" dirty="0">
                          <a:solidFill>
                            <a:srgbClr val="00EE9F"/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.card .person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Теги с классами card или person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0637891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BE4F7C9-899C-4AF7-A00C-97CF30C428ED}"/>
              </a:ext>
            </a:extLst>
          </p:cNvPr>
          <p:cNvSpPr/>
          <p:nvPr/>
        </p:nvSpPr>
        <p:spPr>
          <a:xfrm>
            <a:off x="668632" y="1384253"/>
            <a:ext cx="7365896" cy="15639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600" spc="50" dirty="0">
                <a:solidFill>
                  <a:schemeClr val="bg1"/>
                </a:solidFill>
                <a:latin typeface="Manrope ExtraBold" pitchFamily="2" charset="0"/>
                <a:ea typeface="Inter SemiBold" panose="02000503000000020004" pitchFamily="2" charset="0"/>
                <a:cs typeface="Arial" panose="020B0604020202020204" pitchFamily="34" charset="0"/>
              </a:rPr>
              <a:t>Найти элемент на странице можем по селекторам:</a:t>
            </a:r>
            <a:br>
              <a:rPr lang="en-US" sz="1600" spc="50" dirty="0">
                <a:solidFill>
                  <a:schemeClr val="bg1"/>
                </a:solidFill>
                <a:latin typeface="Manrope ExtraBold" pitchFamily="2" charset="0"/>
                <a:ea typeface="Inter SemiBold" panose="02000503000000020004" pitchFamily="2" charset="0"/>
                <a:cs typeface="Arial" panose="020B0604020202020204" pitchFamily="34" charset="0"/>
              </a:rPr>
            </a:br>
            <a:endParaRPr lang="ru-RU" sz="1600" spc="50" dirty="0">
              <a:solidFill>
                <a:schemeClr val="bg1"/>
              </a:solidFill>
              <a:latin typeface="Manrope ExtraBold" pitchFamily="2" charset="0"/>
              <a:ea typeface="Inter SemiBold" panose="02000503000000020004" pitchFamily="2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200" b="1" spc="50" dirty="0">
                <a:solidFill>
                  <a:schemeClr val="accent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tag</a:t>
            </a:r>
            <a:r>
              <a:rPr lang="ru-RU" sz="1200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en-US" sz="1200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  </a:t>
            </a:r>
            <a:r>
              <a:rPr lang="en-US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—  </a:t>
            </a: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ru-RU" sz="1200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div, </a:t>
            </a:r>
            <a:r>
              <a:rPr lang="ru-RU" sz="1200" spc="50" dirty="0" err="1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span</a:t>
            </a:r>
            <a:r>
              <a:rPr lang="ru-RU" sz="1200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,…. </a:t>
            </a: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– пишем без префиксов, как есть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200" b="1" spc="50" dirty="0">
                <a:solidFill>
                  <a:schemeClr val="accent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class</a:t>
            </a:r>
            <a:r>
              <a:rPr lang="ru-RU" sz="1200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en-US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—</a:t>
            </a: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en-US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 </a:t>
            </a:r>
            <a:r>
              <a:rPr lang="ru-RU" sz="1200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.</a:t>
            </a:r>
            <a:r>
              <a:rPr lang="ru-RU" sz="1200" spc="50" dirty="0" err="1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myClass</a:t>
            </a:r>
            <a:r>
              <a:rPr lang="ru-RU" sz="1200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, .card, .person </a:t>
            </a: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– перед классом добавляем точку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200" b="1" spc="50" dirty="0">
                <a:solidFill>
                  <a:schemeClr val="accent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id   </a:t>
            </a:r>
            <a:r>
              <a:rPr lang="ru-RU" sz="1200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en-US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—</a:t>
            </a: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en-US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 </a:t>
            </a:r>
            <a:r>
              <a:rPr lang="ru-RU" sz="1200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#person, #</a:t>
            </a:r>
            <a:r>
              <a:rPr lang="ru-RU" sz="1200" spc="50" dirty="0" err="1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myId</a:t>
            </a:r>
            <a:r>
              <a:rPr lang="ru-RU" sz="1200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– перед ид добавляем – символ решетка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7EE354C-AD05-453D-A7DE-AACAC42C7F5D}"/>
              </a:ext>
            </a:extLst>
          </p:cNvPr>
          <p:cNvGrpSpPr/>
          <p:nvPr/>
        </p:nvGrpSpPr>
        <p:grpSpPr>
          <a:xfrm>
            <a:off x="6659952" y="1470694"/>
            <a:ext cx="10774608" cy="10774608"/>
            <a:chOff x="4855199" y="-788495"/>
            <a:chExt cx="9078526" cy="9078526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22FBF74-F937-4F22-8BCD-E529B392E5F4}"/>
                </a:ext>
              </a:extLst>
            </p:cNvPr>
            <p:cNvSpPr/>
            <p:nvPr/>
          </p:nvSpPr>
          <p:spPr>
            <a:xfrm>
              <a:off x="8861508" y="3187883"/>
              <a:ext cx="1125772" cy="1125772"/>
            </a:xfrm>
            <a:prstGeom prst="ellipse">
              <a:avLst/>
            </a:prstGeom>
            <a:noFill/>
            <a:ln w="3175">
              <a:solidFill>
                <a:schemeClr val="accent1">
                  <a:shade val="50000"/>
                  <a:alpha val="28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DC4AF1C5-B853-480A-BE59-CCB426C0473D}"/>
                </a:ext>
              </a:extLst>
            </p:cNvPr>
            <p:cNvSpPr/>
            <p:nvPr/>
          </p:nvSpPr>
          <p:spPr>
            <a:xfrm>
              <a:off x="8351673" y="2678048"/>
              <a:ext cx="2145442" cy="2145442"/>
            </a:xfrm>
            <a:prstGeom prst="ellipse">
              <a:avLst/>
            </a:prstGeom>
            <a:noFill/>
            <a:ln w="3175">
              <a:solidFill>
                <a:schemeClr val="accent1">
                  <a:shade val="50000"/>
                  <a:alpha val="28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071A5F54-4583-45B3-BB99-714DB1004988}"/>
                </a:ext>
              </a:extLst>
            </p:cNvPr>
            <p:cNvSpPr/>
            <p:nvPr/>
          </p:nvSpPr>
          <p:spPr>
            <a:xfrm>
              <a:off x="7455083" y="1781458"/>
              <a:ext cx="3938622" cy="3938622"/>
            </a:xfrm>
            <a:prstGeom prst="ellipse">
              <a:avLst/>
            </a:prstGeom>
            <a:noFill/>
            <a:ln w="3175">
              <a:solidFill>
                <a:schemeClr val="accent1">
                  <a:shade val="50000"/>
                  <a:alpha val="28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FC5A178B-F1BF-43FE-8A1C-ECCBADAF8B52}"/>
                </a:ext>
              </a:extLst>
            </p:cNvPr>
            <p:cNvSpPr/>
            <p:nvPr/>
          </p:nvSpPr>
          <p:spPr>
            <a:xfrm>
              <a:off x="6030538" y="344918"/>
              <a:ext cx="6811702" cy="6811702"/>
            </a:xfrm>
            <a:prstGeom prst="ellipse">
              <a:avLst/>
            </a:prstGeom>
            <a:noFill/>
            <a:ln w="3175">
              <a:solidFill>
                <a:schemeClr val="accent1">
                  <a:shade val="50000"/>
                  <a:alpha val="28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06C08AD1-0D91-413E-A04D-EBDCE14FA427}"/>
                </a:ext>
              </a:extLst>
            </p:cNvPr>
            <p:cNvSpPr/>
            <p:nvPr/>
          </p:nvSpPr>
          <p:spPr>
            <a:xfrm>
              <a:off x="4855199" y="-788495"/>
              <a:ext cx="9078526" cy="9078526"/>
            </a:xfrm>
            <a:prstGeom prst="ellipse">
              <a:avLst/>
            </a:prstGeom>
            <a:noFill/>
            <a:ln w="3175">
              <a:solidFill>
                <a:schemeClr val="accent1">
                  <a:shade val="50000"/>
                  <a:alpha val="28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8422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3" presetClass="entr" presetSubtype="16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4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33230A3-D250-4308-9A6D-2B33DB63D3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83448" y="0"/>
            <a:ext cx="6808552" cy="63523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CF87930-82D9-4176-A705-BDF3DC61A2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223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-838944" y="816694"/>
            <a:ext cx="6857998" cy="522460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3E6DF2A-A539-441F-A8E6-320927D9C685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6606296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Ищем элемент </a:t>
            </a:r>
            <a:r>
              <a:rPr lang="ru-RU" sz="2800" spc="50" dirty="0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и меняем страницу</a:t>
            </a:r>
            <a:endParaRPr lang="en-RU" sz="2800" spc="50" dirty="0">
              <a:gradFill flip="none" rotWithShape="1">
                <a:gsLst>
                  <a:gs pos="0">
                    <a:srgbClr val="1A69DF"/>
                  </a:gs>
                  <a:gs pos="73000">
                    <a:srgbClr val="9000FF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CB299803-78B2-416A-A222-8A1D8BF22F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3575574"/>
              </p:ext>
            </p:extLst>
          </p:nvPr>
        </p:nvGraphicFramePr>
        <p:xfrm>
          <a:off x="668632" y="3313824"/>
          <a:ext cx="10832488" cy="28817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728">
                  <a:extLst>
                    <a:ext uri="{9D8B030D-6E8A-4147-A177-3AD203B41FA5}">
                      <a16:colId xmlns:a16="http://schemas.microsoft.com/office/drawing/2014/main" val="3170805554"/>
                    </a:ext>
                  </a:extLst>
                </a:gridCol>
                <a:gridCol w="6715760">
                  <a:extLst>
                    <a:ext uri="{9D8B030D-6E8A-4147-A177-3AD203B41FA5}">
                      <a16:colId xmlns:a16="http://schemas.microsoft.com/office/drawing/2014/main" val="3957495510"/>
                    </a:ext>
                  </a:extLst>
                </a:gridCol>
              </a:tblGrid>
              <a:tr h="575662">
                <a:tc>
                  <a:txBody>
                    <a:bodyPr/>
                    <a:lstStyle/>
                    <a:p>
                      <a:pPr algn="l"/>
                      <a:r>
                        <a:rPr lang="ru-RU" sz="1050" b="0" kern="1200" spc="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Manrope ExtraBold" pitchFamily="2" charset="0"/>
                          <a:ea typeface="Inter SemiBold" panose="02000503000000020004" pitchFamily="2" charset="0"/>
                          <a:cs typeface="Arial" panose="020B0604020202020204" pitchFamily="34" charset="0"/>
                        </a:rPr>
                        <a:t>МЕТОД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b="0" kern="1200" spc="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Manrope ExtraBold" pitchFamily="2" charset="0"/>
                          <a:ea typeface="Inter SemiBold" panose="02000503000000020004" pitchFamily="2" charset="0"/>
                          <a:cs typeface="Arial" panose="020B0604020202020204" pitchFamily="34" charset="0"/>
                        </a:rPr>
                        <a:t>ЧТО ИЩЕМ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427713"/>
                  </a:ext>
                </a:extLst>
              </a:tr>
              <a:tr h="575662">
                <a:tc>
                  <a:txBody>
                    <a:bodyPr/>
                    <a:lstStyle/>
                    <a:p>
                      <a:pPr algn="l"/>
                      <a:r>
                        <a:rPr lang="en-US" sz="1600" spc="50" dirty="0">
                          <a:solidFill>
                            <a:schemeClr val="accent3">
                              <a:lumMod val="40000"/>
                              <a:lumOff val="60000"/>
                            </a:schemeClr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document.getById(‘person’)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Получаем элемент по id person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9173906"/>
                  </a:ext>
                </a:extLst>
              </a:tr>
              <a:tr h="575662">
                <a:tc>
                  <a:txBody>
                    <a:bodyPr/>
                    <a:lstStyle/>
                    <a:p>
                      <a:pPr algn="l"/>
                      <a:r>
                        <a:rPr lang="en-US" sz="1600" spc="50" dirty="0" err="1">
                          <a:solidFill>
                            <a:srgbClr val="00EE9F"/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document.createElement</a:t>
                      </a:r>
                      <a:r>
                        <a:rPr lang="en-US" sz="1600" spc="50" dirty="0">
                          <a:solidFill>
                            <a:srgbClr val="00EE9F"/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 + </a:t>
                      </a:r>
                      <a:r>
                        <a:rPr lang="en-US" sz="1600" spc="50" dirty="0" err="1">
                          <a:solidFill>
                            <a:srgbClr val="00EE9F"/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setAttribute</a:t>
                      </a:r>
                      <a:endParaRPr lang="en-US" sz="1600" spc="50" dirty="0">
                        <a:solidFill>
                          <a:srgbClr val="00EE9F"/>
                        </a:solidFill>
                        <a:latin typeface="Source Code Pro" panose="020B0309030403020204" pitchFamily="49" charset="0"/>
                        <a:ea typeface="Source Code Pro" panose="020B0309030403020204" pitchFamily="49" charset="0"/>
                        <a:cs typeface="Arial" panose="020B0604020202020204" pitchFamily="34" charset="0"/>
                      </a:endParaRP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Тег с идентификатором </a:t>
                      </a:r>
                      <a:r>
                        <a:rPr lang="en-US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myId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942687"/>
                  </a:ext>
                </a:extLst>
              </a:tr>
              <a:tr h="575662">
                <a:tc>
                  <a:txBody>
                    <a:bodyPr/>
                    <a:lstStyle/>
                    <a:p>
                      <a:pPr algn="l"/>
                      <a:r>
                        <a:rPr lang="en-US" sz="1600" b="0" kern="1200" spc="50" dirty="0" err="1">
                          <a:solidFill>
                            <a:srgbClr val="00EE9F"/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element.appendChild</a:t>
                      </a:r>
                      <a:endParaRPr lang="en-US" sz="1600" b="0" kern="1200" spc="50" dirty="0">
                        <a:solidFill>
                          <a:srgbClr val="00EE9F"/>
                        </a:solidFill>
                        <a:latin typeface="Source Code Pro" panose="020B0309030403020204" pitchFamily="49" charset="0"/>
                        <a:ea typeface="Source Code Pro" panose="020B0309030403020204" pitchFamily="49" charset="0"/>
                        <a:cs typeface="Arial" panose="020B0604020202020204" pitchFamily="34" charset="0"/>
                      </a:endParaRP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Тег с классами card и person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9549565"/>
                  </a:ext>
                </a:extLst>
              </a:tr>
              <a:tr h="575662">
                <a:tc>
                  <a:txBody>
                    <a:bodyPr/>
                    <a:lstStyle/>
                    <a:p>
                      <a:pPr algn="l"/>
                      <a:r>
                        <a:rPr lang="en-US" sz="1600" b="0" kern="1200" spc="50" dirty="0" err="1">
                          <a:solidFill>
                            <a:srgbClr val="00EE9F"/>
                          </a:solidFill>
                          <a:latin typeface="Source Code Pro" panose="020B0309030403020204" pitchFamily="49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element.remove</a:t>
                      </a:r>
                      <a:endParaRPr lang="en-US" sz="1600" b="0" kern="1200" spc="50" dirty="0">
                        <a:solidFill>
                          <a:srgbClr val="00EE9F"/>
                        </a:solidFill>
                        <a:latin typeface="Source Code Pro" panose="020B0309030403020204" pitchFamily="49" charset="0"/>
                        <a:ea typeface="Source Code Pro" panose="020B0309030403020204" pitchFamily="49" charset="0"/>
                        <a:cs typeface="Arial" panose="020B0604020202020204" pitchFamily="34" charset="0"/>
                      </a:endParaRP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spc="50" dirty="0">
                          <a:solidFill>
                            <a:schemeClr val="bg1"/>
                          </a:solidFill>
                          <a:latin typeface="Manrope" pitchFamily="2" charset="0"/>
                          <a:ea typeface="Source Code Pro" panose="020B0309030403020204" pitchFamily="49" charset="0"/>
                          <a:cs typeface="Arial" panose="020B0604020202020204" pitchFamily="34" charset="0"/>
                        </a:rPr>
                        <a:t>Теги с классами card или person</a:t>
                      </a:r>
                    </a:p>
                  </a:txBody>
                  <a:tcPr marL="288000" marR="18000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0637891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BE4F7C9-899C-4AF7-A00C-97CF30C428ED}"/>
              </a:ext>
            </a:extLst>
          </p:cNvPr>
          <p:cNvSpPr/>
          <p:nvPr/>
        </p:nvSpPr>
        <p:spPr>
          <a:xfrm>
            <a:off x="668631" y="1384253"/>
            <a:ext cx="11007493" cy="1674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600" spc="50" dirty="0">
                <a:solidFill>
                  <a:schemeClr val="bg1"/>
                </a:solidFill>
                <a:latin typeface="Manrope ExtraBold" pitchFamily="2" charset="0"/>
                <a:ea typeface="Inter SemiBold" panose="02000503000000020004" pitchFamily="2" charset="0"/>
                <a:cs typeface="Arial" panose="020B0604020202020204" pitchFamily="34" charset="0"/>
              </a:rPr>
              <a:t>У какого объекта есть этот метод — </a:t>
            </a:r>
            <a:r>
              <a:rPr lang="ru-RU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document или element</a:t>
            </a:r>
            <a:br>
              <a:rPr lang="en-US" sz="1600" spc="50" dirty="0">
                <a:solidFill>
                  <a:schemeClr val="bg1"/>
                </a:solidFill>
                <a:latin typeface="Manrope ExtraBold" pitchFamily="2" charset="0"/>
                <a:ea typeface="Inter SemiBold" panose="02000503000000020004" pitchFamily="2" charset="0"/>
                <a:cs typeface="Arial" panose="020B0604020202020204" pitchFamily="34" charset="0"/>
              </a:rPr>
            </a:br>
            <a:endParaRPr lang="ru-RU" sz="1600" spc="50" dirty="0">
              <a:solidFill>
                <a:schemeClr val="bg1"/>
              </a:solidFill>
              <a:latin typeface="Manrope ExtraBold" pitchFamily="2" charset="0"/>
              <a:ea typeface="Inter SemiBold" panose="02000503000000020004" pitchFamily="2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400" spc="5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document.querySelector</a:t>
            </a:r>
            <a:r>
              <a:rPr lang="en-US" sz="1400" spc="50" dirty="0">
                <a:solidFill>
                  <a:schemeClr val="accent3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(‘.person’)</a:t>
            </a:r>
            <a:r>
              <a:rPr lang="ru-RU" sz="1400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en-US" sz="1400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  </a:t>
            </a:r>
            <a:r>
              <a:rPr lang="en-US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—  </a:t>
            </a: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ищем первый тег с указанным селектором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400" spc="5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element.querySelectorAll</a:t>
            </a:r>
            <a:r>
              <a:rPr lang="en-US" sz="1400" spc="50" dirty="0">
                <a:solidFill>
                  <a:schemeClr val="accent3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(‘.person’)</a:t>
            </a:r>
            <a:r>
              <a:rPr lang="ru-RU" sz="1400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en-US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—</a:t>
            </a: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</a:t>
            </a:r>
            <a:r>
              <a:rPr lang="en-US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 </a:t>
            </a: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ищем все теги с указанным селектором внутри родительского элемента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ru-RU" sz="1200" spc="50" dirty="0">
              <a:solidFill>
                <a:schemeClr val="bg1"/>
              </a:solidFill>
              <a:latin typeface="Source Code Pro" panose="020B0309030403020204" pitchFamily="49" charset="0"/>
              <a:ea typeface="Source Code Pro" panose="020B0309030403020204" pitchFamily="49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8658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100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500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12B0DB2E-C8D4-49D3-8298-E4D1BD608C2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211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228093" y="228093"/>
            <a:ext cx="6808552" cy="63523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3254417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Events</a:t>
            </a:r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spc="50" dirty="0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 События</a:t>
            </a:r>
            <a:endParaRPr lang="en-RU" sz="2800" spc="50" dirty="0">
              <a:gradFill flip="none" rotWithShape="1">
                <a:gsLst>
                  <a:gs pos="0">
                    <a:srgbClr val="1A69DF"/>
                  </a:gs>
                  <a:gs pos="73000">
                    <a:srgbClr val="9000FF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BE4F7C9-899C-4AF7-A00C-97CF30C428ED}"/>
              </a:ext>
            </a:extLst>
          </p:cNvPr>
          <p:cNvSpPr/>
          <p:nvPr/>
        </p:nvSpPr>
        <p:spPr>
          <a:xfrm>
            <a:off x="668632" y="1384253"/>
            <a:ext cx="11007494" cy="2195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ru-RU" spc="50" dirty="0">
                <a:solidFill>
                  <a:schemeClr val="bg1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Event</a:t>
            </a:r>
            <a:r>
              <a:rPr lang="ru-RU" sz="1600" spc="50" dirty="0">
                <a:solidFill>
                  <a:schemeClr val="bg1"/>
                </a:solidFill>
                <a:latin typeface="Manrope ExtraBold" pitchFamily="2" charset="0"/>
                <a:ea typeface="Inter SemiBold" panose="02000503000000020004" pitchFamily="2" charset="0"/>
                <a:cs typeface="Arial" panose="020B0604020202020204" pitchFamily="34" charset="0"/>
              </a:rPr>
              <a:t> представляет собой любое событие, которое происходит в DOM </a:t>
            </a: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Inter SemiBold" panose="02000503000000020004" pitchFamily="2" charset="0"/>
                <a:cs typeface="Arial" panose="020B0604020202020204" pitchFamily="34" charset="0"/>
              </a:rPr>
              <a:t>(мышь, клавиши, загрузка ресурсов)</a:t>
            </a:r>
            <a:br>
              <a:rPr lang="en-US" sz="1600" spc="50" dirty="0">
                <a:solidFill>
                  <a:schemeClr val="bg1"/>
                </a:solidFill>
                <a:latin typeface="Manrope" pitchFamily="2" charset="0"/>
                <a:ea typeface="Inter SemiBold" panose="02000503000000020004" pitchFamily="2" charset="0"/>
                <a:cs typeface="Arial" panose="020B0604020202020204" pitchFamily="34" charset="0"/>
              </a:rPr>
            </a:br>
            <a:endParaRPr lang="ru-RU" sz="1600" spc="50" dirty="0">
              <a:solidFill>
                <a:schemeClr val="bg1"/>
              </a:solidFill>
              <a:latin typeface="Manrope" pitchFamily="2" charset="0"/>
              <a:ea typeface="Inter SemiBold" panose="02000503000000020004" pitchFamily="2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Метод которым мы можем добавить обработчик для события – </a:t>
            </a:r>
            <a:r>
              <a:rPr lang="ru-RU" sz="1400" spc="50" dirty="0">
                <a:solidFill>
                  <a:schemeClr val="accent3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addEventListener</a:t>
            </a: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Вызывается он у объекта на котором будет происходить действие(документ, элемент)</a:t>
            </a:r>
            <a:b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endParaRPr lang="ru-RU" sz="1200" spc="50" dirty="0">
              <a:solidFill>
                <a:schemeClr val="bg1"/>
              </a:solidFill>
              <a:latin typeface="Manrope" pitchFamily="2" charset="0"/>
              <a:ea typeface="Source Code Pro" panose="020B0309030403020204" pitchFamily="49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400" spc="50" dirty="0">
                <a:solidFill>
                  <a:schemeClr val="accent3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KeyboardEvent</a:t>
            </a:r>
            <a:r>
              <a:rPr lang="ru-RU" sz="12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– keyUp keyDown keypress — </a:t>
            </a:r>
            <a:r>
              <a:rPr lang="ru-RU" sz="1200" u="sng" spc="50" dirty="0">
                <a:solidFill>
                  <a:srgbClr val="1A69DF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veloper.mozilla.org/ru/docs/Web/API/KeyboardEvent</a:t>
            </a:r>
            <a:endParaRPr lang="ru-RU" sz="1200" u="sng" spc="50" dirty="0">
              <a:solidFill>
                <a:srgbClr val="1A69DF"/>
              </a:solidFill>
              <a:latin typeface="Manrope" pitchFamily="2" charset="0"/>
              <a:ea typeface="Source Code Pro" panose="020B0309030403020204" pitchFamily="49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ru-RU" sz="1200" u="sng" spc="50" dirty="0">
              <a:solidFill>
                <a:srgbClr val="1A69DF"/>
              </a:solidFill>
              <a:latin typeface="Manrope" pitchFamily="2" charset="0"/>
              <a:ea typeface="Source Code Pro" panose="020B0309030403020204" pitchFamily="49" charset="0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43150BB-25D6-4BF8-8655-D31D0B7246EA}"/>
              </a:ext>
            </a:extLst>
          </p:cNvPr>
          <p:cNvGrpSpPr/>
          <p:nvPr/>
        </p:nvGrpSpPr>
        <p:grpSpPr>
          <a:xfrm>
            <a:off x="668632" y="3594967"/>
            <a:ext cx="10511161" cy="2814701"/>
            <a:chOff x="781235" y="3789298"/>
            <a:chExt cx="10511161" cy="2814701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F2686D5-11F0-4A86-B0E8-D9F881FFBBC9}"/>
                </a:ext>
              </a:extLst>
            </p:cNvPr>
            <p:cNvSpPr/>
            <p:nvPr/>
          </p:nvSpPr>
          <p:spPr>
            <a:xfrm>
              <a:off x="781235" y="3789298"/>
              <a:ext cx="10511161" cy="2814701"/>
            </a:xfrm>
            <a:prstGeom prst="roundRect">
              <a:avLst>
                <a:gd name="adj" fmla="val 3980"/>
              </a:avLst>
            </a:prstGeom>
            <a:solidFill>
              <a:srgbClr val="1E1E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rtlCol="0" anchor="b"/>
            <a:lstStyle/>
            <a:p>
              <a:r>
                <a:rPr lang="ru-RU" sz="1400" spc="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anrope ExtraBold" pitchFamily="2" charset="0"/>
                  <a:ea typeface="Inter SemiBold" panose="02000503000000020004" pitchFamily="2" charset="0"/>
                  <a:cs typeface="Arial" panose="020B0604020202020204" pitchFamily="34" charset="0"/>
                </a:rPr>
                <a:t>Пример</a:t>
              </a:r>
              <a:br>
                <a:rPr lang="en-US" sz="1400" spc="50" dirty="0">
                  <a:solidFill>
                    <a:schemeClr val="accent5"/>
                  </a:solidFill>
                  <a:latin typeface="Manrope SemiBold" pitchFamily="2" charset="0"/>
                  <a:ea typeface="Inter SemiBold" panose="02000503000000020004" pitchFamily="2" charset="0"/>
                  <a:cs typeface="Arial" panose="020B0604020202020204" pitchFamily="34" charset="0"/>
                </a:rPr>
              </a:br>
              <a:br>
                <a:rPr lang="en-US" sz="1000" spc="50" dirty="0">
                  <a:solidFill>
                    <a:schemeClr val="bg1"/>
                  </a:solidFill>
                  <a:latin typeface="Manrope ExtraBold" pitchFamily="2" charset="0"/>
                  <a:ea typeface="Inter SemiBold" panose="02000503000000020004" pitchFamily="2" charset="0"/>
                  <a:cs typeface="Arial" panose="020B0604020202020204" pitchFamily="34" charset="0"/>
                </a:rPr>
              </a:br>
              <a:endParaRPr lang="ru-RU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endParaRPr>
            </a:p>
            <a:p>
              <a:pPr marL="252000" lvl="1">
                <a:lnSpc>
                  <a:spcPct val="120000"/>
                </a:lnSpc>
              </a:pPr>
              <a:r>
                <a:rPr lang="en-US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document.addEventListener("keydown", onKeyDown);</a:t>
              </a:r>
              <a:br>
                <a:rPr lang="ru-RU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</a:br>
              <a:r>
                <a:rPr lang="en-US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function onKeyDown (e) {</a:t>
              </a:r>
            </a:p>
            <a:p>
              <a:pPr marL="252000" lvl="1">
                <a:lnSpc>
                  <a:spcPct val="120000"/>
                </a:lnSpc>
              </a:pPr>
              <a:r>
                <a:rPr lang="en-US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console.log(</a:t>
              </a:r>
              <a:r>
                <a:rPr lang="en-US" dirty="0">
                  <a:solidFill>
                    <a:schemeClr val="accent3">
                      <a:lumMod val="40000"/>
                      <a:lumOff val="60000"/>
                    </a:schemeClr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e.code</a:t>
              </a:r>
              <a:r>
                <a:rPr lang="en-US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);// </a:t>
              </a:r>
              <a:r>
                <a:rPr lang="ru-RU" sz="1600" dirty="0">
                  <a:latin typeface="Manrope" pitchFamily="2" charset="0"/>
                  <a:ea typeface="Source Code Pro" panose="020B0309030403020204" pitchFamily="49" charset="0"/>
                </a:rPr>
                <a:t>где</a:t>
              </a:r>
              <a:r>
                <a:rPr lang="ru-RU" dirty="0">
                  <a:latin typeface="Source Code Pro" panose="020B0309030403020204" pitchFamily="49" charset="0"/>
                  <a:ea typeface="Source Code Pro" panose="020B0309030403020204" pitchFamily="49" charset="0"/>
                </a:rPr>
                <a:t> </a:t>
              </a:r>
              <a:r>
                <a:rPr lang="en-US" dirty="0">
                  <a:solidFill>
                    <a:schemeClr val="accent3">
                      <a:lumMod val="40000"/>
                      <a:lumOff val="60000"/>
                    </a:schemeClr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e.code </a:t>
              </a:r>
              <a:r>
                <a:rPr lang="en-US" sz="1600" dirty="0">
                  <a:latin typeface="Source Code Pro" panose="020B0309030403020204" pitchFamily="49" charset="0"/>
                  <a:ea typeface="Source Code Pro" panose="020B0309030403020204" pitchFamily="49" charset="0"/>
                </a:rPr>
                <a:t>– </a:t>
              </a:r>
              <a:r>
                <a:rPr lang="ru-RU" sz="1600" dirty="0">
                  <a:latin typeface="Manrope" pitchFamily="2" charset="0"/>
                  <a:ea typeface="Source Code Pro" panose="020B0309030403020204" pitchFamily="49" charset="0"/>
                </a:rPr>
                <a:t>код клавиши</a:t>
              </a:r>
              <a:endParaRPr lang="en-US" dirty="0">
                <a:latin typeface="Manrope" pitchFamily="2" charset="0"/>
                <a:ea typeface="Source Code Pro" panose="020B0309030403020204" pitchFamily="49" charset="0"/>
              </a:endParaRPr>
            </a:p>
            <a:p>
              <a:pPr marL="252000" lvl="1">
                <a:lnSpc>
                  <a:spcPct val="120000"/>
                </a:lnSpc>
              </a:pPr>
              <a:r>
                <a:rPr lang="en-US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}</a:t>
              </a:r>
            </a:p>
            <a:p>
              <a:pPr marL="252000" lvl="1">
                <a:lnSpc>
                  <a:spcPct val="120000"/>
                </a:lnSpc>
              </a:pPr>
              <a:r>
                <a:rPr lang="en-US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MouseMove</a:t>
              </a:r>
              <a:r>
                <a:rPr lang="ru-RU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 – </a:t>
              </a:r>
              <a:r>
                <a:rPr lang="en-US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mouseMove mouseDown</a:t>
              </a:r>
              <a:r>
                <a:rPr lang="en-US" dirty="0">
                  <a:latin typeface="Source Code Pro" panose="020B0309030403020204" pitchFamily="49" charset="0"/>
                  <a:ea typeface="Source Code Pro" panose="020B0309030403020204" pitchFamily="49" charset="0"/>
                </a:rPr>
                <a:t> </a:t>
              </a:r>
              <a:r>
                <a:rPr lang="en-US" sz="1600" dirty="0">
                  <a:latin typeface="Source Code Pro" panose="020B0309030403020204" pitchFamily="49" charset="0"/>
                  <a:ea typeface="Source Code Pro" panose="020B0309030403020204" pitchFamily="49" charset="0"/>
                </a:rPr>
                <a:t>– </a:t>
              </a:r>
              <a:r>
                <a:rPr lang="ru-RU" sz="1600" dirty="0">
                  <a:latin typeface="Manrope" pitchFamily="2" charset="0"/>
                  <a:ea typeface="Source Code Pro" panose="020B0309030403020204" pitchFamily="49" charset="0"/>
                </a:rPr>
                <a:t>события работы с мышью</a:t>
              </a:r>
              <a:endParaRPr lang="en-US" dirty="0">
                <a:latin typeface="Manrope" pitchFamily="2" charset="0"/>
                <a:ea typeface="Source Code Pro" panose="020B0309030403020204" pitchFamily="49" charset="0"/>
              </a:endParaRPr>
            </a:p>
            <a:p>
              <a:pPr algn="ctr"/>
              <a:endParaRPr lang="en-US" dirty="0">
                <a:latin typeface="Source Code Pro" panose="020B0309030403020204" pitchFamily="49" charset="0"/>
                <a:ea typeface="Source Code Pro" panose="020B0309030403020204" pitchFamily="49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33F0705-16AF-4B6F-9970-D74C9271FCE7}"/>
                </a:ext>
              </a:extLst>
            </p:cNvPr>
            <p:cNvCxnSpPr/>
            <p:nvPr/>
          </p:nvCxnSpPr>
          <p:spPr>
            <a:xfrm>
              <a:off x="781235" y="4346016"/>
              <a:ext cx="10511161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66FFC70-E0CE-45CA-B317-9A4825468688}"/>
                </a:ext>
              </a:extLst>
            </p:cNvPr>
            <p:cNvGrpSpPr/>
            <p:nvPr/>
          </p:nvGrpSpPr>
          <p:grpSpPr>
            <a:xfrm>
              <a:off x="10093324" y="4016429"/>
              <a:ext cx="935355" cy="132442"/>
              <a:chOff x="9783565" y="4183148"/>
              <a:chExt cx="1239400" cy="175493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E392CCA0-A6C7-4E97-81E8-5016362AF17B}"/>
                  </a:ext>
                </a:extLst>
              </p:cNvPr>
              <p:cNvCxnSpPr/>
              <p:nvPr/>
            </p:nvCxnSpPr>
            <p:spPr>
              <a:xfrm>
                <a:off x="9783565" y="4282583"/>
                <a:ext cx="208281" cy="0"/>
              </a:xfrm>
              <a:prstGeom prst="line">
                <a:avLst/>
              </a:prstGeom>
              <a:ln w="2222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228861E1-9413-4047-9387-079CD2FBBA55}"/>
                  </a:ext>
                </a:extLst>
              </p:cNvPr>
              <p:cNvGrpSpPr/>
              <p:nvPr/>
            </p:nvGrpSpPr>
            <p:grpSpPr>
              <a:xfrm>
                <a:off x="10840085" y="4191000"/>
                <a:ext cx="182880" cy="167640"/>
                <a:chOff x="10586720" y="4191000"/>
                <a:chExt cx="182880" cy="167640"/>
              </a:xfrm>
            </p:grpSpPr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BFCC00C6-4CB1-4025-9899-1E74EE5048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586720" y="4191000"/>
                  <a:ext cx="182880" cy="16764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613259DB-F873-4E9A-9914-D198E4757EB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586720" y="4191000"/>
                  <a:ext cx="182880" cy="16764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DDBC05C-73ED-4E94-8154-A3DFA1F1D67B}"/>
                  </a:ext>
                </a:extLst>
              </p:cNvPr>
              <p:cNvSpPr/>
              <p:nvPr/>
            </p:nvSpPr>
            <p:spPr>
              <a:xfrm>
                <a:off x="10328217" y="4183148"/>
                <a:ext cx="175495" cy="175493"/>
              </a:xfrm>
              <a:prstGeom prst="rect">
                <a:avLst/>
              </a:prstGeom>
              <a:noFill/>
              <a:ln w="2222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23368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0" tmFilter="0, 0; .2, .5; .8, .5; 1, 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0" autoRev="1" fill="hold"/>
                                        <p:tgtEl>
                                          <p:spTgt spid="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C5ADD52D-1DF2-48BE-A3FA-479CD51BC5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304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1050658" y="1050658"/>
            <a:ext cx="8961120" cy="685980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57DA874-434B-4960-B80F-BFF2C1F58193}"/>
              </a:ext>
            </a:extLst>
          </p:cNvPr>
          <p:cNvSpPr/>
          <p:nvPr/>
        </p:nvSpPr>
        <p:spPr>
          <a:xfrm>
            <a:off x="1" y="0"/>
            <a:ext cx="12192000" cy="6857999"/>
          </a:xfrm>
          <a:prstGeom prst="rect">
            <a:avLst/>
          </a:prstGeom>
          <a:solidFill>
            <a:schemeClr val="tx1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3953326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JS Guide</a:t>
            </a:r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spc="50" dirty="0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 Синтаксис</a:t>
            </a:r>
            <a:endParaRPr lang="en-RU" sz="2800" spc="50" dirty="0">
              <a:gradFill flip="none" rotWithShape="1">
                <a:gsLst>
                  <a:gs pos="0">
                    <a:srgbClr val="1A69DF"/>
                  </a:gs>
                  <a:gs pos="73000">
                    <a:srgbClr val="9000FF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D56B335-4F0B-40A3-AA21-60F0C6D0650A}"/>
              </a:ext>
            </a:extLst>
          </p:cNvPr>
          <p:cNvGrpSpPr/>
          <p:nvPr/>
        </p:nvGrpSpPr>
        <p:grpSpPr>
          <a:xfrm>
            <a:off x="668632" y="1574801"/>
            <a:ext cx="10511161" cy="4592319"/>
            <a:chOff x="781235" y="1574801"/>
            <a:chExt cx="10511161" cy="4592319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F2686D5-11F0-4A86-B0E8-D9F881FFBBC9}"/>
                </a:ext>
              </a:extLst>
            </p:cNvPr>
            <p:cNvSpPr/>
            <p:nvPr/>
          </p:nvSpPr>
          <p:spPr>
            <a:xfrm>
              <a:off x="781235" y="1574801"/>
              <a:ext cx="10511161" cy="4592319"/>
            </a:xfrm>
            <a:prstGeom prst="roundRect">
              <a:avLst>
                <a:gd name="adj" fmla="val 3980"/>
              </a:avLst>
            </a:prstGeom>
            <a:solidFill>
              <a:srgbClr val="1E1E1E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rtlCol="0" anchor="b"/>
            <a:lstStyle/>
            <a:p>
              <a:br>
                <a:rPr lang="en-US" sz="1400" spc="50" dirty="0">
                  <a:solidFill>
                    <a:schemeClr val="accent5"/>
                  </a:solidFill>
                  <a:latin typeface="Manrope SemiBold" pitchFamily="2" charset="0"/>
                  <a:ea typeface="Inter SemiBold" panose="02000503000000020004" pitchFamily="2" charset="0"/>
                  <a:cs typeface="Arial" panose="020B0604020202020204" pitchFamily="34" charset="0"/>
                </a:rPr>
              </a:br>
              <a:br>
                <a:rPr lang="en-US" sz="1000" spc="50" dirty="0">
                  <a:solidFill>
                    <a:schemeClr val="bg1"/>
                  </a:solidFill>
                  <a:latin typeface="Manrope ExtraBold" pitchFamily="2" charset="0"/>
                  <a:ea typeface="Inter SemiBold" panose="02000503000000020004" pitchFamily="2" charset="0"/>
                  <a:cs typeface="Arial" panose="020B0604020202020204" pitchFamily="34" charset="0"/>
                </a:rPr>
              </a:br>
              <a:endParaRPr lang="ru-RU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endParaRPr>
            </a:p>
            <a:p>
              <a:pPr marL="252000" lvl="1">
                <a:lnSpc>
                  <a:spcPct val="150000"/>
                </a:lnSpc>
              </a:pPr>
              <a:r>
                <a:rPr lang="en-US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Function  +</a:t>
              </a:r>
            </a:p>
            <a:p>
              <a:pPr marL="252000" lvl="1">
                <a:lnSpc>
                  <a:spcPct val="150000"/>
                </a:lnSpc>
              </a:pPr>
              <a:r>
                <a:rPr lang="en-US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If &amp;&amp; || != +</a:t>
              </a:r>
            </a:p>
            <a:p>
              <a:pPr marL="252000" lvl="1">
                <a:lnSpc>
                  <a:spcPct val="150000"/>
                </a:lnSpc>
              </a:pPr>
              <a:r>
                <a:rPr lang="en-US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Switch +</a:t>
              </a:r>
            </a:p>
            <a:p>
              <a:pPr marL="252000" lvl="1">
                <a:lnSpc>
                  <a:spcPct val="150000"/>
                </a:lnSpc>
              </a:pPr>
              <a:r>
                <a:rPr lang="ru-RU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Циклы + </a:t>
              </a:r>
            </a:p>
            <a:p>
              <a:pPr marL="252000" lvl="1">
                <a:lnSpc>
                  <a:spcPct val="150000"/>
                </a:lnSpc>
              </a:pPr>
              <a:r>
                <a:rPr lang="en-US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Object +</a:t>
              </a:r>
            </a:p>
            <a:p>
              <a:pPr marL="252000" lvl="1">
                <a:lnSpc>
                  <a:spcPct val="150000"/>
                </a:lnSpc>
              </a:pPr>
              <a:r>
                <a:rPr lang="ru-RU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Деструктуризация+</a:t>
              </a:r>
            </a:p>
            <a:p>
              <a:pPr marL="252000" lvl="1">
                <a:lnSpc>
                  <a:spcPct val="150000"/>
                </a:lnSpc>
              </a:pPr>
              <a:r>
                <a:rPr lang="en-US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Scope – </a:t>
              </a:r>
              <a:r>
                <a:rPr lang="ru-RU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глобальная переменная и локальная+</a:t>
              </a:r>
            </a:p>
            <a:p>
              <a:pPr marL="252000" lvl="1">
                <a:lnSpc>
                  <a:spcPct val="150000"/>
                </a:lnSpc>
              </a:pPr>
              <a:r>
                <a:rPr lang="en-US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</a:rPr>
                <a:t>Alert console.log</a:t>
              </a:r>
            </a:p>
            <a:p>
              <a:pPr algn="ctr"/>
              <a:endParaRPr lang="en-US" dirty="0">
                <a:latin typeface="Source Code Pro" panose="020B0309030403020204" pitchFamily="49" charset="0"/>
                <a:ea typeface="Source Code Pro" panose="020B0309030403020204" pitchFamily="49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33F0705-16AF-4B6F-9970-D74C9271FCE7}"/>
                </a:ext>
              </a:extLst>
            </p:cNvPr>
            <p:cNvCxnSpPr/>
            <p:nvPr/>
          </p:nvCxnSpPr>
          <p:spPr>
            <a:xfrm>
              <a:off x="781235" y="2180645"/>
              <a:ext cx="10511161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66FFC70-E0CE-45CA-B317-9A4825468688}"/>
                </a:ext>
              </a:extLst>
            </p:cNvPr>
            <p:cNvGrpSpPr/>
            <p:nvPr/>
          </p:nvGrpSpPr>
          <p:grpSpPr>
            <a:xfrm>
              <a:off x="10093324" y="1851058"/>
              <a:ext cx="935355" cy="132442"/>
              <a:chOff x="9783565" y="4183148"/>
              <a:chExt cx="1239400" cy="175493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E392CCA0-A6C7-4E97-81E8-5016362AF17B}"/>
                  </a:ext>
                </a:extLst>
              </p:cNvPr>
              <p:cNvCxnSpPr/>
              <p:nvPr/>
            </p:nvCxnSpPr>
            <p:spPr>
              <a:xfrm>
                <a:off x="9783565" y="4282583"/>
                <a:ext cx="208281" cy="0"/>
              </a:xfrm>
              <a:prstGeom prst="line">
                <a:avLst/>
              </a:prstGeom>
              <a:ln w="2222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228861E1-9413-4047-9387-079CD2FBBA55}"/>
                  </a:ext>
                </a:extLst>
              </p:cNvPr>
              <p:cNvGrpSpPr/>
              <p:nvPr/>
            </p:nvGrpSpPr>
            <p:grpSpPr>
              <a:xfrm>
                <a:off x="10840085" y="4191000"/>
                <a:ext cx="182880" cy="167640"/>
                <a:chOff x="10586720" y="4191000"/>
                <a:chExt cx="182880" cy="167640"/>
              </a:xfrm>
            </p:grpSpPr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BFCC00C6-4CB1-4025-9899-1E74EE5048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586720" y="4191000"/>
                  <a:ext cx="182880" cy="16764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613259DB-F873-4E9A-9914-D198E4757EB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586720" y="4191000"/>
                  <a:ext cx="182880" cy="16764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DDBC05C-73ED-4E94-8154-A3DFA1F1D67B}"/>
                  </a:ext>
                </a:extLst>
              </p:cNvPr>
              <p:cNvSpPr/>
              <p:nvPr/>
            </p:nvSpPr>
            <p:spPr>
              <a:xfrm>
                <a:off x="10328217" y="4183148"/>
                <a:ext cx="175495" cy="175493"/>
              </a:xfrm>
              <a:prstGeom prst="rect">
                <a:avLst/>
              </a:prstGeom>
              <a:noFill/>
              <a:ln w="2222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54167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8C407E2-852A-4858-9B67-0FCA3DB79F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08" t="22063" r="5287" b="39770"/>
          <a:stretch/>
        </p:blipFill>
        <p:spPr>
          <a:xfrm>
            <a:off x="0" y="0"/>
            <a:ext cx="12221496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ED45516-9259-413D-8876-1862DC12EFA0}"/>
              </a:ext>
            </a:extLst>
          </p:cNvPr>
          <p:cNvSpPr/>
          <p:nvPr/>
        </p:nvSpPr>
        <p:spPr>
          <a:xfrm>
            <a:off x="1" y="0"/>
            <a:ext cx="12192000" cy="6857999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5006499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Переменные и константы</a:t>
            </a:r>
            <a:endParaRPr lang="en-RU" sz="2800" spc="50" dirty="0">
              <a:gradFill flip="none" rotWithShape="1">
                <a:gsLst>
                  <a:gs pos="0">
                    <a:srgbClr val="1A69DF"/>
                  </a:gs>
                  <a:gs pos="73000">
                    <a:srgbClr val="9000FF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64648C3-DEDB-4D9A-A128-7FBEF54267B5}"/>
              </a:ext>
            </a:extLst>
          </p:cNvPr>
          <p:cNvSpPr/>
          <p:nvPr/>
        </p:nvSpPr>
        <p:spPr>
          <a:xfrm>
            <a:off x="668632" y="1384253"/>
            <a:ext cx="11007494" cy="40021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Переменная — это значение которое имеет имя (имя переменной) и может менять свое значение в коде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В JS — переменные обозначаются </a:t>
            </a:r>
            <a:r>
              <a:rPr lang="ru-RU" sz="1600" spc="50" dirty="0">
                <a:solidFill>
                  <a:schemeClr val="accent3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let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.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После </a:t>
            </a:r>
            <a:r>
              <a:rPr lang="ru-RU" sz="1600" spc="50" dirty="0">
                <a:solidFill>
                  <a:schemeClr val="accent3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let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 пишем название переменной(без пробелов, числа не могут быть названием);</a:t>
            </a:r>
            <a:b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b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accent3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let</a:t>
            </a:r>
            <a:r>
              <a:rPr lang="en-US" sz="16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 a = 5;</a:t>
            </a:r>
            <a:br>
              <a:rPr lang="en-US" sz="16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r>
              <a:rPr lang="en-US" sz="16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a = 6;</a:t>
            </a:r>
            <a:br>
              <a:rPr lang="en-US" sz="16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r>
              <a:rPr lang="en-US" sz="16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a = ‘hello’;</a:t>
            </a:r>
            <a:br>
              <a:rPr lang="ru-RU" sz="12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ru-RU" sz="1200" dirty="0">
              <a:solidFill>
                <a:srgbClr val="00FFFF"/>
              </a:solidFill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br>
              <a:rPr lang="ru-RU" sz="1200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US" sz="1200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2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Константа – это значение которого задается при его объявлении(создании), и не изменяется нигде.</a:t>
            </a:r>
            <a:br>
              <a:rPr lang="ru-RU" sz="12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br>
              <a:rPr lang="ru-RU" sz="12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accent3">
                    <a:lumMod val="40000"/>
                    <a:lumOff val="60000"/>
                  </a:schemeClr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const</a:t>
            </a:r>
            <a:r>
              <a:rPr lang="en-US" sz="14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 a = 5;</a:t>
            </a:r>
            <a:br>
              <a:rPr lang="en-US" sz="14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r>
              <a:rPr lang="en-US" sz="140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a = 6; //</a:t>
            </a:r>
            <a:r>
              <a:rPr lang="ru-RU" sz="1400" dirty="0">
                <a:solidFill>
                  <a:srgbClr val="F84114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Будет ошибка!</a:t>
            </a:r>
            <a:endParaRPr lang="ru-RU" sz="1200" u="sng" spc="50" dirty="0">
              <a:solidFill>
                <a:srgbClr val="F84114"/>
              </a:solidFill>
              <a:latin typeface="Manrope" pitchFamily="2" charset="0"/>
              <a:ea typeface="Source Code Pro" panose="020B0309030403020204" pitchFamily="49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14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5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7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6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1849740-673C-4B3B-B151-EA65277F85C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223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1" y="0"/>
            <a:ext cx="6857998" cy="5224607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CED2C6F0-B518-4EB3-BCFD-3EE299981FB2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14C375-CBC4-491E-8D1A-6DBEF7853C00}"/>
              </a:ext>
            </a:extLst>
          </p:cNvPr>
          <p:cNvSpPr txBox="1">
            <a:spLocks/>
          </p:cNvSpPr>
          <p:nvPr/>
        </p:nvSpPr>
        <p:spPr>
          <a:xfrm>
            <a:off x="668632" y="543201"/>
            <a:ext cx="4676280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If </a:t>
            </a:r>
            <a:r>
              <a:rPr lang="ru-RU" sz="2800" spc="50" dirty="0">
                <a:gradFill flip="none" rotWithShape="1">
                  <a:gsLst>
                    <a:gs pos="21000">
                      <a:schemeClr val="accent1"/>
                    </a:gs>
                    <a:gs pos="100000">
                      <a:srgbClr val="FF0000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spc="50" dirty="0">
                <a:gradFill flip="none" rotWithShape="1">
                  <a:gsLst>
                    <a:gs pos="0">
                      <a:srgbClr val="1A69DF"/>
                    </a:gs>
                    <a:gs pos="73000">
                      <a:srgbClr val="9000FF"/>
                    </a:gs>
                  </a:gsLst>
                  <a:lin ang="2700000" scaled="1"/>
                  <a:tileRect/>
                </a:gradFill>
                <a:latin typeface="Manrope ExtraBold" pitchFamily="2" charset="0"/>
                <a:ea typeface="Inter Black" panose="02000503000000020004" pitchFamily="2" charset="0"/>
                <a:cs typeface="Arial" panose="020B0604020202020204" pitchFamily="34" charset="0"/>
              </a:rPr>
              <a:t>— условный оператор</a:t>
            </a:r>
            <a:endParaRPr lang="en-RU" sz="2800" spc="50" dirty="0">
              <a:gradFill flip="none" rotWithShape="1">
                <a:gsLst>
                  <a:gs pos="0">
                    <a:srgbClr val="1A69DF"/>
                  </a:gs>
                  <a:gs pos="73000">
                    <a:srgbClr val="9000FF"/>
                  </a:gs>
                </a:gsLst>
                <a:lin ang="2700000" scaled="1"/>
                <a:tileRect/>
              </a:gradFill>
              <a:latin typeface="Manrope ExtraBold" pitchFamily="2" charset="0"/>
              <a:ea typeface="Inter Black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D47F7AB-768B-4A09-A09C-BF937E6C01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81090" y="448332"/>
            <a:ext cx="595035" cy="32939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64648C3-DEDB-4D9A-A128-7FBEF54267B5}"/>
              </a:ext>
            </a:extLst>
          </p:cNvPr>
          <p:cNvSpPr/>
          <p:nvPr/>
        </p:nvSpPr>
        <p:spPr>
          <a:xfrm>
            <a:off x="668632" y="1384253"/>
            <a:ext cx="11007494" cy="4024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pc="50" dirty="0">
                <a:solidFill>
                  <a:schemeClr val="bg1"/>
                </a:solidFill>
                <a:latin typeface="Manrope Extra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Что думаем: 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Если </a:t>
            </a:r>
            <a:r>
              <a:rPr lang="ru-RU" sz="1600" b="1" spc="5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a&gt;b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то делаем действие </a:t>
            </a:r>
            <a:r>
              <a:rPr lang="ru-RU" sz="1600" b="1" spc="5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1</a:t>
            </a:r>
            <a:r>
              <a:rPr lang="ru-RU" sz="1400" spc="50" dirty="0">
                <a:solidFill>
                  <a:schemeClr val="bg1"/>
                </a:solidFill>
                <a:latin typeface="Manrope SemiBold" pitchFamily="2" charset="0"/>
                <a:ea typeface="Source Code Pro" panose="020B0309030403020204" pitchFamily="49" charset="0"/>
                <a:cs typeface="Arial" panose="020B0604020202020204" pitchFamily="34" charset="0"/>
              </a:rPr>
              <a:t> иначе действие </a:t>
            </a:r>
            <a:r>
              <a:rPr lang="ru-RU" sz="1600" b="1" spc="5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rPr>
              <a:t>2</a:t>
            </a:r>
            <a:endParaRPr lang="ru-RU" sz="1200" b="1" dirty="0">
              <a:solidFill>
                <a:srgbClr val="00FFFF"/>
              </a:solidFill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3392023-DE82-48D6-A71D-F05DB6030CF5}"/>
              </a:ext>
            </a:extLst>
          </p:cNvPr>
          <p:cNvGrpSpPr/>
          <p:nvPr/>
        </p:nvGrpSpPr>
        <p:grpSpPr>
          <a:xfrm>
            <a:off x="668632" y="2112582"/>
            <a:ext cx="4107553" cy="4084778"/>
            <a:chOff x="668632" y="3594967"/>
            <a:chExt cx="4107553" cy="4084778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0EFCCC6-014A-4529-9673-2B97B527458F}"/>
                </a:ext>
              </a:extLst>
            </p:cNvPr>
            <p:cNvGrpSpPr/>
            <p:nvPr/>
          </p:nvGrpSpPr>
          <p:grpSpPr>
            <a:xfrm>
              <a:off x="668632" y="3594967"/>
              <a:ext cx="4107553" cy="4084778"/>
              <a:chOff x="781235" y="3789299"/>
              <a:chExt cx="4107553" cy="4084778"/>
            </a:xfrm>
          </p:grpSpPr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7C52F608-B9B7-42D9-9CDC-8993F70EC09A}"/>
                  </a:ext>
                </a:extLst>
              </p:cNvPr>
              <p:cNvSpPr/>
              <p:nvPr/>
            </p:nvSpPr>
            <p:spPr>
              <a:xfrm>
                <a:off x="781235" y="3789299"/>
                <a:ext cx="4107553" cy="4084778"/>
              </a:xfrm>
              <a:prstGeom prst="roundRect">
                <a:avLst>
                  <a:gd name="adj" fmla="val 3980"/>
                </a:avLst>
              </a:prstGeom>
              <a:solidFill>
                <a:srgbClr val="1E1E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2000" tIns="144000" rtlCol="0" anchor="t"/>
              <a:lstStyle/>
              <a:p>
                <a:r>
                  <a:rPr lang="ru-RU" sz="1400" spc="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ExtraBold" pitchFamily="2" charset="0"/>
                    <a:ea typeface="Inter SemiBold" panose="02000503000000020004" pitchFamily="2" charset="0"/>
                    <a:cs typeface="Arial" panose="020B0604020202020204" pitchFamily="34" charset="0"/>
                  </a:rPr>
                  <a:t>Что пишем</a:t>
                </a:r>
                <a:br>
                  <a:rPr lang="en-US" sz="1400" spc="50" dirty="0">
                    <a:solidFill>
                      <a:schemeClr val="accent5"/>
                    </a:solidFill>
                    <a:latin typeface="Manrope SemiBold" pitchFamily="2" charset="0"/>
                    <a:ea typeface="Inter SemiBold" panose="02000503000000020004" pitchFamily="2" charset="0"/>
                    <a:cs typeface="Arial" panose="020B0604020202020204" pitchFamily="34" charset="0"/>
                  </a:rPr>
                </a:br>
                <a:br>
                  <a:rPr lang="en-US" sz="1000" spc="50" dirty="0">
                    <a:solidFill>
                      <a:schemeClr val="bg1"/>
                    </a:solidFill>
                    <a:latin typeface="Manrope ExtraBold" pitchFamily="2" charset="0"/>
                    <a:ea typeface="Inter SemiBold" panose="02000503000000020004" pitchFamily="2" charset="0"/>
                    <a:cs typeface="Arial" panose="020B0604020202020204" pitchFamily="34" charset="0"/>
                  </a:rPr>
                </a:br>
                <a:endParaRPr lang="en-US" dirty="0">
                  <a:latin typeface="Source Code Pro" panose="020B0309030403020204" pitchFamily="49" charset="0"/>
                  <a:ea typeface="Source Code Pro" panose="020B0309030403020204" pitchFamily="49" charset="0"/>
                </a:endParaRP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0134AB7A-1D96-4EF0-BFF3-D64352ECD38C}"/>
                  </a:ext>
                </a:extLst>
              </p:cNvPr>
              <p:cNvGrpSpPr/>
              <p:nvPr/>
            </p:nvGrpSpPr>
            <p:grpSpPr>
              <a:xfrm>
                <a:off x="3634371" y="4016429"/>
                <a:ext cx="935361" cy="132442"/>
                <a:chOff x="1225074" y="4183148"/>
                <a:chExt cx="1239408" cy="175493"/>
              </a:xfrm>
            </p:grpSpPr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D24EBC69-4D99-4637-8E33-A1FA57D07F85}"/>
                    </a:ext>
                  </a:extLst>
                </p:cNvPr>
                <p:cNvCxnSpPr/>
                <p:nvPr/>
              </p:nvCxnSpPr>
              <p:spPr>
                <a:xfrm>
                  <a:off x="1225074" y="4282583"/>
                  <a:ext cx="208281" cy="0"/>
                </a:xfrm>
                <a:prstGeom prst="line">
                  <a:avLst/>
                </a:prstGeom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DF6D70E6-126E-4B47-9FC1-B76597F7D83B}"/>
                    </a:ext>
                  </a:extLst>
                </p:cNvPr>
                <p:cNvGrpSpPr/>
                <p:nvPr/>
              </p:nvGrpSpPr>
              <p:grpSpPr>
                <a:xfrm>
                  <a:off x="2281569" y="4191000"/>
                  <a:ext cx="182913" cy="167640"/>
                  <a:chOff x="2028204" y="4191000"/>
                  <a:chExt cx="182913" cy="167640"/>
                </a:xfrm>
              </p:grpSpPr>
              <p:cxnSp>
                <p:nvCxnSpPr>
                  <p:cNvPr id="22" name="Straight Connector 21">
                    <a:extLst>
                      <a:ext uri="{FF2B5EF4-FFF2-40B4-BE49-F238E27FC236}">
                        <a16:creationId xmlns:a16="http://schemas.microsoft.com/office/drawing/2014/main" id="{0B1F9F08-DE81-4BB3-A13C-CB5D1D62FCD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028238" y="4191000"/>
                    <a:ext cx="182879" cy="167640"/>
                  </a:xfrm>
                  <a:prstGeom prst="line">
                    <a:avLst/>
                  </a:prstGeom>
                  <a:ln w="22225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" name="Straight Connector 22">
                    <a:extLst>
                      <a:ext uri="{FF2B5EF4-FFF2-40B4-BE49-F238E27FC236}">
                        <a16:creationId xmlns:a16="http://schemas.microsoft.com/office/drawing/2014/main" id="{225BDC08-3360-4FEE-9116-B3595E222CD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2028204" y="4191000"/>
                    <a:ext cx="182882" cy="167640"/>
                  </a:xfrm>
                  <a:prstGeom prst="line">
                    <a:avLst/>
                  </a:prstGeom>
                  <a:ln w="22225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40F24EF2-0924-479B-BD50-BF7D51EFD084}"/>
                    </a:ext>
                  </a:extLst>
                </p:cNvPr>
                <p:cNvSpPr/>
                <p:nvPr/>
              </p:nvSpPr>
              <p:spPr>
                <a:xfrm>
                  <a:off x="1769728" y="4183148"/>
                  <a:ext cx="175495" cy="175493"/>
                </a:xfrm>
                <a:prstGeom prst="rect">
                  <a:avLst/>
                </a:prstGeom>
                <a:noFill/>
                <a:ln w="22225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4C52612C-EB71-4C8F-89E8-337293E820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1235" y="4346016"/>
                <a:ext cx="4107553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07AA24-94B6-4814-A30F-56162C6281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3494" y="4514648"/>
              <a:ext cx="2686358" cy="1513097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2A2A4CD-B9A2-4970-A7C4-C63D8D2CB44F}"/>
              </a:ext>
            </a:extLst>
          </p:cNvPr>
          <p:cNvGrpSpPr/>
          <p:nvPr/>
        </p:nvGrpSpPr>
        <p:grpSpPr>
          <a:xfrm>
            <a:off x="5499669" y="2538711"/>
            <a:ext cx="5878938" cy="3074752"/>
            <a:chOff x="5763805" y="1938515"/>
            <a:chExt cx="5878938" cy="3074752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E836520-3B70-437E-98AE-D889C0A64CFC}"/>
                </a:ext>
              </a:extLst>
            </p:cNvPr>
            <p:cNvSpPr/>
            <p:nvPr/>
          </p:nvSpPr>
          <p:spPr>
            <a:xfrm>
              <a:off x="5763805" y="1938515"/>
              <a:ext cx="5878938" cy="30747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spcBef>
                  <a:spcPts val="600"/>
                </a:spcBef>
              </a:pPr>
              <a:r>
                <a:rPr lang="ru-RU" sz="1400" spc="50" dirty="0">
                  <a:solidFill>
                    <a:schemeClr val="accent1"/>
                  </a:solidFill>
                  <a:latin typeface="Manrope SemiBold" pitchFamily="2" charset="0"/>
                  <a:ea typeface="Source Code Pro" panose="020B0309030403020204" pitchFamily="49" charset="0"/>
                  <a:cs typeface="Arial" panose="020B0604020202020204" pitchFamily="34" charset="0"/>
                </a:rPr>
                <a:t>Синтаксис: </a:t>
              </a:r>
            </a:p>
            <a:p>
              <a:pPr>
                <a:lnSpc>
                  <a:spcPct val="120000"/>
                </a:lnSpc>
                <a:spcBef>
                  <a:spcPts val="600"/>
                </a:spcBef>
              </a:pPr>
              <a:endParaRPr lang="ru-RU" sz="11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endParaRPr>
            </a:p>
            <a:p>
              <a:pPr>
                <a:lnSpc>
                  <a:spcPct val="120000"/>
                </a:lnSpc>
                <a:spcBef>
                  <a:spcPts val="600"/>
                </a:spcBef>
              </a:pPr>
              <a:endParaRPr lang="ru-RU" sz="11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endParaRPr>
            </a:p>
            <a:p>
              <a:pPr>
                <a:lnSpc>
                  <a:spcPct val="120000"/>
                </a:lnSpc>
                <a:spcBef>
                  <a:spcPts val="600"/>
                </a:spcBef>
              </a:pPr>
              <a:endParaRPr lang="ru-RU" sz="11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endParaRPr>
            </a:p>
            <a:p>
              <a:pPr>
                <a:lnSpc>
                  <a:spcPct val="120000"/>
                </a:lnSpc>
                <a:spcBef>
                  <a:spcPts val="600"/>
                </a:spcBef>
              </a:pPr>
              <a:endParaRPr lang="ru-RU" sz="11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endParaRPr>
            </a:p>
            <a:p>
              <a:pPr>
                <a:lnSpc>
                  <a:spcPct val="120000"/>
                </a:lnSpc>
                <a:spcBef>
                  <a:spcPts val="600"/>
                </a:spcBef>
              </a:pPr>
              <a:endParaRPr lang="ru-RU" sz="11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endParaRPr>
            </a:p>
            <a:p>
              <a:pPr>
                <a:lnSpc>
                  <a:spcPct val="120000"/>
                </a:lnSpc>
                <a:spcBef>
                  <a:spcPts val="600"/>
                </a:spcBef>
              </a:pPr>
              <a:r>
                <a:rPr lang="ru-RU" sz="1200" spc="50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  <a:cs typeface="Arial" panose="020B0604020202020204" pitchFamily="34" charset="0"/>
                </a:rPr>
                <a:t>a&gt;0 ИЛИ b&gt;0   \   a &gt; 0 || b &gt;0</a:t>
              </a:r>
            </a:p>
            <a:p>
              <a:pPr>
                <a:lnSpc>
                  <a:spcPct val="120000"/>
                </a:lnSpc>
                <a:spcBef>
                  <a:spcPts val="600"/>
                </a:spcBef>
              </a:pPr>
              <a:r>
                <a:rPr lang="ru-RU" sz="1200" spc="50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  <a:cs typeface="Arial" panose="020B0604020202020204" pitchFamily="34" charset="0"/>
                </a:rPr>
                <a:t>a&gt;0 И b&gt;0   \   a &gt; 0 &amp;&amp; b &gt;0</a:t>
              </a:r>
              <a:endParaRPr lang="ru-RU" sz="1100" spc="50" dirty="0">
                <a:solidFill>
                  <a:schemeClr val="bg1"/>
                </a:solidFill>
                <a:latin typeface="Manrope" pitchFamily="2" charset="0"/>
                <a:ea typeface="Source Code Pro" panose="020B0309030403020204" pitchFamily="49" charset="0"/>
                <a:cs typeface="Arial" panose="020B0604020202020204" pitchFamily="34" charset="0"/>
              </a:endParaRPr>
            </a:p>
            <a:p>
              <a:pPr>
                <a:lnSpc>
                  <a:spcPct val="120000"/>
                </a:lnSpc>
                <a:spcBef>
                  <a:spcPts val="600"/>
                </a:spcBef>
              </a:pPr>
              <a:r>
                <a:rPr lang="ru-RU" sz="1200" spc="50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  <a:cs typeface="Arial" panose="020B0604020202020204" pitchFamily="34" charset="0"/>
                </a:rPr>
                <a:t>а</a:t>
              </a:r>
              <a:r>
                <a:rPr lang="ru-RU" sz="1100" spc="50" dirty="0">
                  <a:solidFill>
                    <a:schemeClr val="bg1"/>
                  </a:solidFill>
                  <a:latin typeface="Manrope" pitchFamily="2" charset="0"/>
                  <a:ea typeface="Source Code Pro" panose="020B0309030403020204" pitchFamily="49" charset="0"/>
                  <a:cs typeface="Arial" panose="020B0604020202020204" pitchFamily="34" charset="0"/>
                </a:rPr>
                <a:t> — равно любому непустому значению (</a:t>
              </a:r>
              <a:r>
                <a:rPr lang="ru-RU" sz="1100" spc="50" dirty="0" err="1">
                  <a:solidFill>
                    <a:schemeClr val="bg1"/>
                  </a:solidFill>
                  <a:latin typeface="Manrope" pitchFamily="2" charset="0"/>
                  <a:ea typeface="Source Code Pro" panose="020B0309030403020204" pitchFamily="49" charset="0"/>
                  <a:cs typeface="Arial" panose="020B0604020202020204" pitchFamily="34" charset="0"/>
                </a:rPr>
                <a:t>undefined</a:t>
              </a:r>
              <a:r>
                <a:rPr lang="ru-RU" sz="1100" spc="50" dirty="0">
                  <a:solidFill>
                    <a:schemeClr val="bg1"/>
                  </a:solidFill>
                  <a:latin typeface="Manrope" pitchFamily="2" charset="0"/>
                  <a:ea typeface="Source Code Pro" panose="020B0309030403020204" pitchFamily="49" charset="0"/>
                  <a:cs typeface="Arial" panose="020B0604020202020204" pitchFamily="34" charset="0"/>
                </a:rPr>
                <a:t>, 0, пустая строка – ‘’ – JS понимает как пустое значение) </a:t>
              </a:r>
              <a:r>
                <a:rPr lang="ru-RU" sz="1200" spc="50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  <a:cs typeface="Arial" panose="020B0604020202020204" pitchFamily="34" charset="0"/>
                </a:rPr>
                <a:t>\ !!a</a:t>
              </a:r>
              <a:br>
                <a:rPr lang="ru-RU" sz="1100" spc="50" dirty="0">
                  <a:solidFill>
                    <a:schemeClr val="bg1"/>
                  </a:solidFill>
                  <a:latin typeface="Manrope" pitchFamily="2" charset="0"/>
                  <a:ea typeface="Source Code Pro" panose="020B0309030403020204" pitchFamily="49" charset="0"/>
                  <a:cs typeface="Arial" panose="020B0604020202020204" pitchFamily="34" charset="0"/>
                </a:rPr>
              </a:br>
              <a:r>
                <a:rPr lang="ru-RU" sz="1100" spc="50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  <a:cs typeface="Arial" panose="020B0604020202020204" pitchFamily="34" charset="0"/>
                </a:rPr>
                <a:t>!</a:t>
              </a:r>
              <a:r>
                <a:rPr lang="ru-RU" sz="1100" spc="50" dirty="0">
                  <a:solidFill>
                    <a:schemeClr val="bg1"/>
                  </a:solidFill>
                  <a:latin typeface="Manrope" pitchFamily="2" charset="0"/>
                  <a:ea typeface="Source Code Pro" panose="020B0309030403020204" pitchFamily="49" charset="0"/>
                  <a:cs typeface="Arial" panose="020B0604020202020204" pitchFamily="34" charset="0"/>
                </a:rPr>
                <a:t> — оператор отрицания - значение 0 превращает в 1 и наоборот </a:t>
              </a:r>
              <a:r>
                <a:rPr lang="ru-RU" sz="1200" spc="50" dirty="0">
                  <a:solidFill>
                    <a:srgbClr val="00FFFF"/>
                  </a:solidFill>
                  <a:latin typeface="Source Code Pro" panose="020B0309030403020204" pitchFamily="49" charset="0"/>
                  <a:ea typeface="Source Code Pro" panose="020B0309030403020204" pitchFamily="49" charset="0"/>
                  <a:cs typeface="Arial" panose="020B0604020202020204" pitchFamily="34" charset="0"/>
                </a:rPr>
                <a:t>\ !0 = 1 </a:t>
              </a:r>
              <a:endParaRPr lang="ru-RU" sz="1100" spc="50" dirty="0">
                <a:solidFill>
                  <a:srgbClr val="00FFFF"/>
                </a:solidFill>
                <a:latin typeface="Source Code Pro" panose="020B0309030403020204" pitchFamily="49" charset="0"/>
                <a:ea typeface="Source Code Pro" panose="020B0309030403020204" pitchFamily="49" charset="0"/>
                <a:cs typeface="Arial" panose="020B0604020202020204" pitchFamily="34" charset="0"/>
              </a:endParaRP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0370EDDD-A955-467E-A1FD-EDB1B622EA5C}"/>
                </a:ext>
              </a:extLst>
            </p:cNvPr>
            <p:cNvSpPr/>
            <p:nvPr/>
          </p:nvSpPr>
          <p:spPr>
            <a:xfrm>
              <a:off x="5854664" y="2533063"/>
              <a:ext cx="2190834" cy="357290"/>
            </a:xfrm>
            <a:prstGeom prst="roundRect">
              <a:avLst>
                <a:gd name="adj" fmla="val 20978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0" tIns="72000" rIns="180000" bIns="72000" rtlCol="0" anchor="b">
              <a:spAutoFit/>
            </a:bodyPr>
            <a:lstStyle/>
            <a:p>
              <a:pPr algn="ctr"/>
              <a:r>
                <a:rPr lang="ru-RU" sz="1100" dirty="0">
                  <a:solidFill>
                    <a:schemeClr val="accent5">
                      <a:lumMod val="40000"/>
                      <a:lumOff val="60000"/>
                    </a:schemeClr>
                  </a:solidFill>
                  <a:latin typeface="Manrope SemiBold" pitchFamily="2" charset="0"/>
                </a:rPr>
                <a:t>Условия пишем внутри </a:t>
              </a:r>
              <a:r>
                <a:rPr lang="ru-RU" sz="1100" b="1" dirty="0">
                  <a:latin typeface="Source Code Pro" panose="020B0309030403020204" pitchFamily="49" charset="0"/>
                  <a:ea typeface="Source Code Pro" panose="020B0309030403020204" pitchFamily="49" charset="0"/>
                </a:rPr>
                <a:t>()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1857EBB3-F9CB-495F-BE21-00B7D8938287}"/>
                </a:ext>
              </a:extLst>
            </p:cNvPr>
            <p:cNvSpPr/>
            <p:nvPr/>
          </p:nvSpPr>
          <p:spPr>
            <a:xfrm>
              <a:off x="8235682" y="2533063"/>
              <a:ext cx="2830398" cy="357290"/>
            </a:xfrm>
            <a:prstGeom prst="roundRect">
              <a:avLst>
                <a:gd name="adj" fmla="val 20978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0000" tIns="72000" rIns="180000" bIns="72000" numCol="1" spcCol="0" rtlCol="0" fromWordArt="0" anchor="b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ru-RU" sz="1100" dirty="0">
                  <a:solidFill>
                    <a:schemeClr val="accent5">
                      <a:lumMod val="40000"/>
                      <a:lumOff val="60000"/>
                    </a:schemeClr>
                  </a:solidFill>
                  <a:latin typeface="Manrope SemiBold" pitchFamily="2" charset="0"/>
                </a:rPr>
                <a:t>Действия всегда оборачиваем в </a:t>
              </a:r>
              <a:r>
                <a:rPr lang="ru-RU" sz="1100" b="1" dirty="0">
                  <a:latin typeface="Source Code Pro" panose="020B0309030403020204" pitchFamily="49" charset="0"/>
                  <a:ea typeface="Source Code Pro" panose="020B0309030403020204" pitchFamily="49" charset="0"/>
                </a:rPr>
                <a:t>{}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CDC5CDF5-1ED2-4DF8-BB56-F2BEE1187072}"/>
                </a:ext>
              </a:extLst>
            </p:cNvPr>
            <p:cNvSpPr/>
            <p:nvPr/>
          </p:nvSpPr>
          <p:spPr>
            <a:xfrm>
              <a:off x="5854664" y="3077207"/>
              <a:ext cx="5788079" cy="357290"/>
            </a:xfrm>
            <a:prstGeom prst="roundRect">
              <a:avLst>
                <a:gd name="adj" fmla="val 20978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0000" tIns="72000" rIns="180000" bIns="72000" numCol="1" spcCol="0" rtlCol="0" fromWordArt="0" anchor="b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ru-RU" sz="1100" dirty="0">
                  <a:solidFill>
                    <a:schemeClr val="accent5">
                      <a:lumMod val="40000"/>
                      <a:lumOff val="60000"/>
                    </a:schemeClr>
                  </a:solidFill>
                  <a:latin typeface="Manrope SemiBold" pitchFamily="2" charset="0"/>
                </a:rPr>
                <a:t>Сложные условия можем соединять операторами: </a:t>
              </a:r>
              <a:r>
                <a:rPr lang="ru-RU" sz="1100" b="1" dirty="0">
                  <a:latin typeface="Source Code Pro" panose="020B0309030403020204" pitchFamily="49" charset="0"/>
                  <a:ea typeface="Source Code Pro" panose="020B0309030403020204" pitchFamily="49" charset="0"/>
                </a:rPr>
                <a:t>Что думаем / Что пише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2510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2dfqldtsuqCf77y7HC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Titles">
  <a:themeElements>
    <a:clrScheme name="Ax-team 2022">
      <a:dk1>
        <a:srgbClr val="000000"/>
      </a:dk1>
      <a:lt1>
        <a:srgbClr val="EBE8E4"/>
      </a:lt1>
      <a:dk2>
        <a:srgbClr val="B3B2B3"/>
      </a:dk2>
      <a:lt2>
        <a:srgbClr val="414042"/>
      </a:lt2>
      <a:accent1>
        <a:srgbClr val="F37022"/>
      </a:accent1>
      <a:accent2>
        <a:srgbClr val="FBD4BC"/>
      </a:accent2>
      <a:accent3>
        <a:srgbClr val="821F00"/>
      </a:accent3>
      <a:accent4>
        <a:srgbClr val="22A5F3"/>
      </a:accent4>
      <a:accent5>
        <a:srgbClr val="5F308C"/>
      </a:accent5>
      <a:accent6>
        <a:srgbClr val="3F1A62"/>
      </a:accent6>
      <a:hlink>
        <a:srgbClr val="2800FF"/>
      </a:hlink>
      <a:folHlink>
        <a:srgbClr val="E9610D"/>
      </a:folHlink>
    </a:clrScheme>
    <a:fontScheme name="Ax-team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Titles">
  <a:themeElements>
    <a:clrScheme name="Ax-team 2022">
      <a:dk1>
        <a:srgbClr val="000000"/>
      </a:dk1>
      <a:lt1>
        <a:srgbClr val="EBE8E4"/>
      </a:lt1>
      <a:dk2>
        <a:srgbClr val="B3B2B3"/>
      </a:dk2>
      <a:lt2>
        <a:srgbClr val="414042"/>
      </a:lt2>
      <a:accent1>
        <a:srgbClr val="F37022"/>
      </a:accent1>
      <a:accent2>
        <a:srgbClr val="FBD4BC"/>
      </a:accent2>
      <a:accent3>
        <a:srgbClr val="821F00"/>
      </a:accent3>
      <a:accent4>
        <a:srgbClr val="22A5F3"/>
      </a:accent4>
      <a:accent5>
        <a:srgbClr val="5F308C"/>
      </a:accent5>
      <a:accent6>
        <a:srgbClr val="3F1A62"/>
      </a:accent6>
      <a:hlink>
        <a:srgbClr val="2800FF"/>
      </a:hlink>
      <a:folHlink>
        <a:srgbClr val="E9610D"/>
      </a:folHlink>
    </a:clrScheme>
    <a:fontScheme name="Ax-team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3.xml><?xml version="1.0" encoding="utf-8"?>
<a:theme xmlns:a="http://schemas.openxmlformats.org/drawingml/2006/main" name="Sales Transformation Offerings">
  <a:themeElements>
    <a:clrScheme name="Ax-team 2022">
      <a:dk1>
        <a:srgbClr val="000000"/>
      </a:dk1>
      <a:lt1>
        <a:srgbClr val="EBE8E4"/>
      </a:lt1>
      <a:dk2>
        <a:srgbClr val="B3B2B3"/>
      </a:dk2>
      <a:lt2>
        <a:srgbClr val="414042"/>
      </a:lt2>
      <a:accent1>
        <a:srgbClr val="F37022"/>
      </a:accent1>
      <a:accent2>
        <a:srgbClr val="FBD4BC"/>
      </a:accent2>
      <a:accent3>
        <a:srgbClr val="821F00"/>
      </a:accent3>
      <a:accent4>
        <a:srgbClr val="22A5F3"/>
      </a:accent4>
      <a:accent5>
        <a:srgbClr val="5F308C"/>
      </a:accent5>
      <a:accent6>
        <a:srgbClr val="3F1A62"/>
      </a:accent6>
      <a:hlink>
        <a:srgbClr val="2800FF"/>
      </a:hlink>
      <a:folHlink>
        <a:srgbClr val="E9610D"/>
      </a:folHlink>
    </a:clrScheme>
    <a:fontScheme name="Ax-team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0" id="{C00EB2C1-B526-F548-AF64-FD10065D7E5F}" vid="{C7D4C087-F6B1-4649-903F-3FEF709D25B8}"/>
    </a:ext>
  </a:extLst>
</a:theme>
</file>

<file path=ppt/theme/theme4.xml><?xml version="1.0" encoding="utf-8"?>
<a:theme xmlns:a="http://schemas.openxmlformats.org/drawingml/2006/main" name="Custom Design">
  <a:themeElements>
    <a:clrScheme name="Ax-team oct.2022">
      <a:dk1>
        <a:srgbClr val="000000"/>
      </a:dk1>
      <a:lt1>
        <a:srgbClr val="FFFFFF"/>
      </a:lt1>
      <a:dk2>
        <a:srgbClr val="B3B2B3"/>
      </a:dk2>
      <a:lt2>
        <a:srgbClr val="EBE8E4"/>
      </a:lt2>
      <a:accent1>
        <a:srgbClr val="F37022"/>
      </a:accent1>
      <a:accent2>
        <a:srgbClr val="FBD4BC"/>
      </a:accent2>
      <a:accent3>
        <a:srgbClr val="821F00"/>
      </a:accent3>
      <a:accent4>
        <a:srgbClr val="22A5F3"/>
      </a:accent4>
      <a:accent5>
        <a:srgbClr val="5F308C"/>
      </a:accent5>
      <a:accent6>
        <a:srgbClr val="414042"/>
      </a:accent6>
      <a:hlink>
        <a:srgbClr val="2800FF"/>
      </a:hlink>
      <a:folHlink>
        <a:srgbClr val="E9610D"/>
      </a:folHlink>
    </a:clrScheme>
    <a:fontScheme name="Ax-team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ustom Design">
  <a:themeElements>
    <a:clrScheme name="Ax-team 2022">
      <a:dk1>
        <a:srgbClr val="000000"/>
      </a:dk1>
      <a:lt1>
        <a:srgbClr val="EBE8E4"/>
      </a:lt1>
      <a:dk2>
        <a:srgbClr val="B3B2B3"/>
      </a:dk2>
      <a:lt2>
        <a:srgbClr val="414042"/>
      </a:lt2>
      <a:accent1>
        <a:srgbClr val="F37022"/>
      </a:accent1>
      <a:accent2>
        <a:srgbClr val="FBD4BC"/>
      </a:accent2>
      <a:accent3>
        <a:srgbClr val="821F00"/>
      </a:accent3>
      <a:accent4>
        <a:srgbClr val="22A5F3"/>
      </a:accent4>
      <a:accent5>
        <a:srgbClr val="5F308C"/>
      </a:accent5>
      <a:accent6>
        <a:srgbClr val="3F1A62"/>
      </a:accent6>
      <a:hlink>
        <a:srgbClr val="2800FF"/>
      </a:hlink>
      <a:folHlink>
        <a:srgbClr val="E9610D"/>
      </a:folHlink>
    </a:clrScheme>
    <a:fontScheme name="Ax-team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Custom Design">
  <a:themeElements>
    <a:clrScheme name="Ax-team oct.2022">
      <a:dk1>
        <a:srgbClr val="000000"/>
      </a:dk1>
      <a:lt1>
        <a:srgbClr val="FFFFFF"/>
      </a:lt1>
      <a:dk2>
        <a:srgbClr val="B3B2B3"/>
      </a:dk2>
      <a:lt2>
        <a:srgbClr val="EBE8E4"/>
      </a:lt2>
      <a:accent1>
        <a:srgbClr val="F37022"/>
      </a:accent1>
      <a:accent2>
        <a:srgbClr val="FBD4BC"/>
      </a:accent2>
      <a:accent3>
        <a:srgbClr val="821F00"/>
      </a:accent3>
      <a:accent4>
        <a:srgbClr val="22A5F3"/>
      </a:accent4>
      <a:accent5>
        <a:srgbClr val="5F308C"/>
      </a:accent5>
      <a:accent6>
        <a:srgbClr val="414042"/>
      </a:accent6>
      <a:hlink>
        <a:srgbClr val="2800FF"/>
      </a:hlink>
      <a:folHlink>
        <a:srgbClr val="E9610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Titles">
  <a:themeElements>
    <a:clrScheme name="Ax-team 2022">
      <a:dk1>
        <a:srgbClr val="000000"/>
      </a:dk1>
      <a:lt1>
        <a:srgbClr val="EBE8E4"/>
      </a:lt1>
      <a:dk2>
        <a:srgbClr val="B3B2B3"/>
      </a:dk2>
      <a:lt2>
        <a:srgbClr val="414042"/>
      </a:lt2>
      <a:accent1>
        <a:srgbClr val="F37022"/>
      </a:accent1>
      <a:accent2>
        <a:srgbClr val="FBD4BC"/>
      </a:accent2>
      <a:accent3>
        <a:srgbClr val="821F00"/>
      </a:accent3>
      <a:accent4>
        <a:srgbClr val="22A5F3"/>
      </a:accent4>
      <a:accent5>
        <a:srgbClr val="5F308C"/>
      </a:accent5>
      <a:accent6>
        <a:srgbClr val="3F1A62"/>
      </a:accent6>
      <a:hlink>
        <a:srgbClr val="2800FF"/>
      </a:hlink>
      <a:folHlink>
        <a:srgbClr val="E9610D"/>
      </a:folHlink>
    </a:clrScheme>
    <a:fontScheme name="Ax-team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8.xml><?xml version="1.0" encoding="utf-8"?>
<a:theme xmlns:a="http://schemas.openxmlformats.org/drawingml/2006/main" name="5_Titles">
  <a:themeElements>
    <a:clrScheme name="Ax-team 2022">
      <a:dk1>
        <a:srgbClr val="000000"/>
      </a:dk1>
      <a:lt1>
        <a:srgbClr val="EBE8E4"/>
      </a:lt1>
      <a:dk2>
        <a:srgbClr val="B3B2B3"/>
      </a:dk2>
      <a:lt2>
        <a:srgbClr val="414042"/>
      </a:lt2>
      <a:accent1>
        <a:srgbClr val="F37022"/>
      </a:accent1>
      <a:accent2>
        <a:srgbClr val="FBD4BC"/>
      </a:accent2>
      <a:accent3>
        <a:srgbClr val="821F00"/>
      </a:accent3>
      <a:accent4>
        <a:srgbClr val="22A5F3"/>
      </a:accent4>
      <a:accent5>
        <a:srgbClr val="5F308C"/>
      </a:accent5>
      <a:accent6>
        <a:srgbClr val="3F1A62"/>
      </a:accent6>
      <a:hlink>
        <a:srgbClr val="2800FF"/>
      </a:hlink>
      <a:folHlink>
        <a:srgbClr val="E9610D"/>
      </a:folHlink>
    </a:clrScheme>
    <a:fontScheme name="Ax-team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D8D1F32CD47364489AEA84E7C810ACE" ma:contentTypeVersion="0" ma:contentTypeDescription="Create a new document." ma:contentTypeScope="" ma:versionID="1dfe614159b55952a206ec6c8369986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ff03dde4259c08ff71d8d05c94e2e9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0BFD2F6-B7C1-4343-AC99-287F6E59526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69E6BED-C071-44FB-BA11-0FC178B082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3B6A47E-82FA-458E-A30A-CDE06CC60705}">
  <ds:schemaRefs>
    <ds:schemaRef ds:uri="http://schemas.microsoft.com/office/2006/metadata/properties"/>
    <ds:schemaRef ds:uri="http://purl.org/dc/elements/1.1/"/>
    <ds:schemaRef ds:uri="http://purl.org/dc/dcmitype/"/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580</TotalTime>
  <Words>1047</Words>
  <Application>Microsoft Office PowerPoint</Application>
  <PresentationFormat>Widescreen</PresentationFormat>
  <Paragraphs>166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42" baseType="lpstr">
      <vt:lpstr>Inter Medium</vt:lpstr>
      <vt:lpstr>Inter</vt:lpstr>
      <vt:lpstr>Calibri Light</vt:lpstr>
      <vt:lpstr>Symbol</vt:lpstr>
      <vt:lpstr>Inter SemiBold</vt:lpstr>
      <vt:lpstr>Manrope</vt:lpstr>
      <vt:lpstr>Manrope ExtraBold</vt:lpstr>
      <vt:lpstr>Arial</vt:lpstr>
      <vt:lpstr>Source Code Pro</vt:lpstr>
      <vt:lpstr>Manrope SemiBold</vt:lpstr>
      <vt:lpstr>Inter Black</vt:lpstr>
      <vt:lpstr>Montserrat</vt:lpstr>
      <vt:lpstr>Wingdings</vt:lpstr>
      <vt:lpstr>Montserrat SemiBold</vt:lpstr>
      <vt:lpstr>Montserrat ExtraBold</vt:lpstr>
      <vt:lpstr>Calibri</vt:lpstr>
      <vt:lpstr>6_Titles</vt:lpstr>
      <vt:lpstr>3_Titles</vt:lpstr>
      <vt:lpstr>Sales Transformation Offerings</vt:lpstr>
      <vt:lpstr>Custom Design</vt:lpstr>
      <vt:lpstr>1_Custom Design</vt:lpstr>
      <vt:lpstr>2_Custom Design</vt:lpstr>
      <vt:lpstr>2_Titles</vt:lpstr>
      <vt:lpstr>5_Titles</vt:lpstr>
      <vt:lpstr>think-cell Foli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daminova Nigora</dc:creator>
  <cp:lastModifiedBy>Akimov Oleg</cp:lastModifiedBy>
  <cp:revision>518</cp:revision>
  <dcterms:created xsi:type="dcterms:W3CDTF">2022-04-15T13:13:55Z</dcterms:created>
  <dcterms:modified xsi:type="dcterms:W3CDTF">2023-02-18T02:0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8D1F32CD47364489AEA84E7C810ACE</vt:lpwstr>
  </property>
</Properties>
</file>